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2.xml" ContentType="application/vnd.openxmlformats-officedocument.theme+xml"/>
  <Override PartName="/ppt/tags/tag13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700" r:id="rId5"/>
    <p:sldMasterId id="2147483885" r:id="rId6"/>
    <p:sldMasterId id="2147483725" r:id="rId7"/>
    <p:sldMasterId id="2147483887" r:id="rId8"/>
    <p:sldMasterId id="2147483875" r:id="rId9"/>
    <p:sldMasterId id="2147483883" r:id="rId10"/>
    <p:sldMasterId id="2147483855" r:id="rId11"/>
    <p:sldMasterId id="2147484043" r:id="rId12"/>
    <p:sldMasterId id="2147484056" r:id="rId13"/>
    <p:sldMasterId id="2147484075" r:id="rId14"/>
    <p:sldMasterId id="2147484093" r:id="rId15"/>
  </p:sldMasterIdLst>
  <p:notesMasterIdLst>
    <p:notesMasterId r:id="rId42"/>
  </p:notesMasterIdLst>
  <p:handoutMasterIdLst>
    <p:handoutMasterId r:id="rId43"/>
  </p:handoutMasterIdLst>
  <p:sldIdLst>
    <p:sldId id="295" r:id="rId16"/>
    <p:sldId id="2147308946" r:id="rId17"/>
    <p:sldId id="2147471768" r:id="rId18"/>
    <p:sldId id="2147471781" r:id="rId19"/>
    <p:sldId id="2147471288" r:id="rId20"/>
    <p:sldId id="2147308952" r:id="rId21"/>
    <p:sldId id="2147471713" r:id="rId22"/>
    <p:sldId id="2147471761" r:id="rId23"/>
    <p:sldId id="2147376406" r:id="rId24"/>
    <p:sldId id="2147471716" r:id="rId25"/>
    <p:sldId id="2147471789" r:id="rId26"/>
    <p:sldId id="2147471459" r:id="rId27"/>
    <p:sldId id="2147471719" r:id="rId28"/>
    <p:sldId id="2147471763" r:id="rId29"/>
    <p:sldId id="2147471127" r:id="rId30"/>
    <p:sldId id="2147471131" r:id="rId31"/>
    <p:sldId id="2147471792" r:id="rId32"/>
    <p:sldId id="2147471790" r:id="rId33"/>
    <p:sldId id="2147471062" r:id="rId34"/>
    <p:sldId id="2147471791" r:id="rId35"/>
    <p:sldId id="2147376493" r:id="rId36"/>
    <p:sldId id="2147471795" r:id="rId37"/>
    <p:sldId id="2147471797" r:id="rId38"/>
    <p:sldId id="2147471796" r:id="rId39"/>
    <p:sldId id="2147471793" r:id="rId40"/>
    <p:sldId id="2147471794" r:id="rId41"/>
  </p:sldIdLst>
  <p:sldSz cx="9144000" cy="5143500" type="screen16x9"/>
  <p:notesSz cx="6858000" cy="9144000"/>
  <p:custDataLst>
    <p:tags r:id="rId44"/>
  </p:custDataLst>
  <p:defaultTextStyle>
    <a:defPPr>
      <a:defRPr lang="en-US"/>
    </a:defPPr>
    <a:lvl1pPr marL="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11CC803-249B-D0E5-4139-290F7551AD13}" name="Sashidhar, Sashidhar" initials="SS" userId="S::ssashidhar@deloitte.com::ea4a570e-c4ba-43ca-a20e-91e4515b5368" providerId="AD"/>
  <p188:author id="{08FB5E78-75C0-F69A-48C2-A14A6E581ECB}" name="Tolj, Milos" initials="TM" userId="S::mtolj@deloitte.com::1ea36c97-8809-41c5-ad9f-447c41e5234c" providerId="AD"/>
  <p188:author id="{48EEED7A-2E2E-D938-33CE-0776AAFD44B9}" name="Shenoy Telicherry, Arjun" initials="SA" userId="S::ashenoytelicherry_deloitte.com#ext#@eaton.onmicrosoft.com::cd8c0971-0107-4a84-9d32-b14806e4c6ba" providerId="AD"/>
  <p188:author id="{0CEA1C8D-F32B-A33C-B397-D4CBDC0770E3}" name="Shenoy Telicherry, Arjun" initials="STA" userId="S::ashenoytelicherry@deloitte.com::5fe52590-c63b-4574-b98d-8af1dc5f01a8" providerId="AD"/>
  <p188:author id="{89A3188E-698E-C8B0-7FE3-9FE4FCC6EA68}" name="Ishaan Kumar Sinha" initials="IKS" userId="S::ishsinha@deloitte.com::af1d11ac-2aae-4aa6-a58b-d12a88193f92" providerId="AD"/>
  <p188:author id="{4CE6559C-5E76-7DB0-A4D4-07E0C56BA4A8}" name="Lore, Chris" initials="LC" userId="S::chrislore@eaton.com::488ed113-b748-42ef-92a4-1ddc5f11bd2e" providerId="AD"/>
  <p188:author id="{EEE4D4C3-849F-9E0A-5897-2D99E4394955}" name="Gayle, Tyler" initials="GT" userId="S::tgayle@deloitte.com::dd173582-570b-4c85-b0dd-87d69cd95c64" providerId="AD"/>
  <p188:author id="{066533F3-0356-12C3-0351-03E89A5B0630}" name="Sobczak, Jonathan" initials="SJ" userId="S::jsobczak_deloitte.com#ext#@eaton.onmicrosoft.com::e1599fcc-55f2-40c2-89ea-8c3d2452d6f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erick, Robin D" initials="ERD" lastIdx="3" clrIdx="0">
    <p:extLst>
      <p:ext uri="{19B8F6BF-5375-455C-9EA6-DF929625EA0E}">
        <p15:presenceInfo xmlns:p15="http://schemas.microsoft.com/office/powerpoint/2012/main" userId="Elerick, Robin D" providerId="None"/>
      </p:ext>
    </p:extLst>
  </p:cmAuthor>
  <p:cmAuthor id="2" name="Jamison, Melissa C" initials="JMC" lastIdx="1" clrIdx="1">
    <p:extLst>
      <p:ext uri="{19B8F6BF-5375-455C-9EA6-DF929625EA0E}">
        <p15:presenceInfo xmlns:p15="http://schemas.microsoft.com/office/powerpoint/2012/main" userId="S-1-5-21-1895723088-473596052-2526530024-2393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5F72"/>
    <a:srgbClr val="EC8B00"/>
    <a:srgbClr val="E0A500"/>
    <a:srgbClr val="FFE8C9"/>
    <a:srgbClr val="D9F1CD"/>
    <a:srgbClr val="FFF4D5"/>
    <a:srgbClr val="FFFFFF"/>
    <a:srgbClr val="0070C0"/>
    <a:srgbClr val="8CD169"/>
    <a:srgbClr val="025D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E7B9AFB-3451-4E74-87BC-D22DC558DE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80456E-8DD2-4316-B09B-915CC9DAB4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20FE75-F0E5-4178-92D0-1D99ED7487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78E814-BF4A-424C-8D74-7A079D6CE5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86761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DA924B-5872-4E97-9323-662B96104A62}" type="datetimeFigureOut">
              <a:rPr lang="en-US" smtClean="0"/>
              <a:t>3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A961E7-70D3-4B33-9353-3F1CBA11EA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30092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Charbel/Sundar</a:t>
            </a:r>
          </a:p>
        </p:txBody>
      </p:sp>
    </p:spTree>
    <p:extLst>
      <p:ext uri="{BB962C8B-B14F-4D97-AF65-F5344CB8AC3E}">
        <p14:creationId xmlns:p14="http://schemas.microsoft.com/office/powerpoint/2010/main" val="28838750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Alicia</a:t>
            </a: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09FB08-B307-4802-B9D6-7D5D8BF9FDD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0056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</a:pPr>
            <a:endParaRPr lang="en-US" sz="80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A961E7-70D3-4B33-9353-3F1CBA11EA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680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</a:pPr>
            <a:endParaRPr lang="en-US" sz="80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A961E7-70D3-4B33-9353-3F1CBA11EA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97503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6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A961E7-70D3-4B33-9353-3F1CBA11EAF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61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95827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sz="1100">
                <a:latin typeface="Arial"/>
                <a:cs typeface="Arial"/>
              </a:rPr>
              <a:t>Presenter:  Chris</a:t>
            </a:r>
          </a:p>
          <a:p>
            <a:pPr>
              <a:defRPr/>
            </a:pPr>
            <a:endParaRPr lang="en-US" sz="1100">
              <a:latin typeface="Arial"/>
              <a:cs typeface="Arial"/>
            </a:endParaRPr>
          </a:p>
          <a:p>
            <a:pPr>
              <a:defRPr/>
            </a:pPr>
            <a:r>
              <a:rPr lang="en-US" sz="1100">
                <a:latin typeface="Arial"/>
                <a:cs typeface="Arial"/>
              </a:rPr>
              <a:t>Solving for: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Arial"/>
                <a:cs typeface="Arial"/>
              </a:rPr>
              <a:t>Single customer order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Arial"/>
                <a:cs typeface="Arial"/>
              </a:rPr>
              <a:t>Centralized credit management for ES-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Arial"/>
                <a:cs typeface="Arial"/>
              </a:rPr>
              <a:t>Improved I/C processing, currently operating largely on a day lag, moving towards more real time processing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1100">
              <a:latin typeface="Arial"/>
              <a:cs typeface="Arial"/>
            </a:endParaRPr>
          </a:p>
          <a:p>
            <a:r>
              <a:rPr lang="en-US" sz="1100" b="0">
                <a:solidFill>
                  <a:srgbClr val="FFFFFF"/>
                </a:solidFill>
                <a:cs typeface="Arial"/>
              </a:rPr>
              <a:t>We do this today in some capacity through EDI, but the processes are not standardized across the electrical sector and the order entry in the target environment can take up to a day depending on the EDI setup.  We’d like to improve these processes and switch to more real-time integrations.  Ideally this will be done with a tool like an iPaaS for the API / microservice mapping; however, we can accomplish this with the tools we have in place today.</a:t>
            </a:r>
          </a:p>
          <a:p>
            <a:endParaRPr lang="en-US" sz="1100" b="1">
              <a:solidFill>
                <a:srgbClr val="FFFFFF"/>
              </a:solidFill>
              <a:cs typeface="Arial"/>
            </a:endParaRPr>
          </a:p>
          <a:p>
            <a:pPr marL="457200" lvl="1" indent="0">
              <a:spcBef>
                <a:spcPts val="300"/>
              </a:spcBef>
              <a:buFont typeface="+mj-lt"/>
              <a:buNone/>
            </a:pPr>
            <a:endParaRPr lang="en-US" sz="115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5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92D7EA-2434-4756-8E3A-6200E463230D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65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36701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</a:pPr>
            <a:endParaRPr lang="en-US" sz="80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A961E7-70D3-4B33-9353-3F1CBA11EA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82614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</a:pPr>
            <a:endParaRPr lang="en-US" sz="80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A961E7-70D3-4B33-9353-3F1CBA11EA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31668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</a:pPr>
            <a:endParaRPr lang="en-US" sz="80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A961E7-70D3-4B33-9353-3F1CBA11EA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204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lking points: Highlight MVP approach, advisory boards, OCM invest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09FB08-B307-4802-B9D6-7D5D8BF9FDD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365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176810" fontAlgn="auto">
              <a:spcBef>
                <a:spcPts val="0"/>
              </a:spcBef>
              <a:spcAft>
                <a:spcPts val="0"/>
              </a:spcAft>
              <a:defRPr/>
            </a:pPr>
            <a:fld id="{CA2D21D1-52E2-420B-B491-CFF6D7BB79FB}" type="slidenum">
              <a:rPr lang="en-US" sz="1200">
                <a:solidFill>
                  <a:prstClr val="black"/>
                </a:solidFill>
                <a:latin typeface="Calibri"/>
              </a:rPr>
              <a:pPr defTabSz="1176810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en-US" sz="12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61197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esenter: Anna</a:t>
            </a:r>
          </a:p>
        </p:txBody>
      </p:sp>
    </p:spTree>
    <p:extLst>
      <p:ext uri="{BB962C8B-B14F-4D97-AF65-F5344CB8AC3E}">
        <p14:creationId xmlns:p14="http://schemas.microsoft.com/office/powerpoint/2010/main" val="39717799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09FB08-B307-4802-B9D6-7D5D8BF9FDD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811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961E7-70D3-4B33-9353-3F1CBA11EA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8074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enter: Fred</a:t>
            </a:r>
          </a:p>
          <a:p>
            <a:endParaRPr lang="en-US"/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3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lease 1 – deliver Order Hub proof of concept for targeted customer group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</a:t>
            </a: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focused on </a:t>
            </a: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ing, design</a:t>
            </a: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&amp; test </a:t>
            </a: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M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4C8C2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</a:t>
            </a: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focused on build &amp; test, </a:t>
            </a: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4C8C2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idation, training &amp; deployment</a:t>
            </a:r>
          </a:p>
          <a:p>
            <a:pPr marL="557213" marR="0" lvl="1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t engagement – site teams engaged (Jan), testing (Jan-Jun), training &amp; readiness assessment (Jun-Jul)</a:t>
            </a:r>
          </a:p>
          <a:p>
            <a:pPr marL="100024" marR="0" lvl="0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0428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esenter: Anna</a:t>
            </a:r>
          </a:p>
        </p:txBody>
      </p:sp>
    </p:spTree>
    <p:extLst>
      <p:ext uri="{BB962C8B-B14F-4D97-AF65-F5344CB8AC3E}">
        <p14:creationId xmlns:p14="http://schemas.microsoft.com/office/powerpoint/2010/main" val="39717799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Alicia</a:t>
            </a: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09FB08-B307-4802-B9D6-7D5D8BF9FDD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8113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361712"/>
            <a:ext cx="7467600" cy="3753327"/>
          </a:xfrm>
        </p:spPr>
        <p:txBody>
          <a:bodyPr anchor="ctr">
            <a:norm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DC6F61-EE4D-4FC1-A721-D4FA40B7D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2865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833D153-3B20-416C-8100-2DF06B67D5F6}"/>
              </a:ext>
            </a:extLst>
          </p:cNvPr>
          <p:cNvSpPr/>
          <p:nvPr userDrawn="1"/>
        </p:nvSpPr>
        <p:spPr>
          <a:xfrm>
            <a:off x="0" y="0"/>
            <a:ext cx="9144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E338CC-1EA3-4B77-A3CE-E222B30A48F7}"/>
              </a:ext>
            </a:extLst>
          </p:cNvPr>
          <p:cNvSpPr txBox="1"/>
          <p:nvPr userDrawn="1"/>
        </p:nvSpPr>
        <p:spPr>
          <a:xfrm>
            <a:off x="2514600" y="1977511"/>
            <a:ext cx="4114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full-screen imag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19EF6D-BBC2-4D60-9344-88C4B02DF7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8705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947805C-B47E-4651-8337-9789FA0E04B5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66C67F-B443-438F-A80D-76526C0B9E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1460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D59A9D08-B922-4E8E-AEA3-9931350F3E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693652-EE4D-4BBE-B51B-B9C993D90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219" y="2095325"/>
            <a:ext cx="2875565" cy="952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8875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row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80AE99EE-D0E7-4870-A880-7E7C66C8B0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35008" y="710274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CF325A03-4984-43CE-9F38-7741741BF5C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835008" y="1395606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C3F431F4-C396-4246-9CB6-F2AAB6BA790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835008" y="2080938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11571ADC-E417-4BE0-86E0-0190575A961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835008" y="2766270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1BCE421C-9EC0-4AD9-99A5-8DA4E398690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35008" y="3451604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83742"/>
            <a:ext cx="8572500" cy="54431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EC5F10E-8295-475A-B504-1226765166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5752" y="4132868"/>
            <a:ext cx="8572498" cy="496283"/>
          </a:xfrm>
          <a:prstGeom prst="roundRect">
            <a:avLst>
              <a:gd name="adj" fmla="val 14602"/>
            </a:avLst>
          </a:prstGeom>
          <a:solidFill>
            <a:schemeClr val="tx2"/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Highlight 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92506EC-2863-40DA-9585-90C89854F4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796" y="706387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5A600E3-462E-4024-9B74-F0150A98FBF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8796" y="3447717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2DF296D-4152-4595-8D9D-D5DFFEEB8A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796" y="1391720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847ECB-275A-4E2B-88D8-48E7703A9A0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88796" y="2077053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FBA57B53-BEF4-47BF-B5EB-B78EC95A319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8796" y="2762386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DCC3846-FE49-42E7-89D9-503BB9ABD2E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85751" y="4855137"/>
            <a:ext cx="7459149" cy="201168"/>
          </a:xfrm>
          <a:noFill/>
          <a:ln>
            <a:noFill/>
          </a:ln>
        </p:spPr>
        <p:txBody>
          <a:bodyPr lIns="91440" tIns="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171446" indent="0">
              <a:spcBef>
                <a:spcPts val="30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2647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7ADA96-AA58-4BF6-AD8A-0C3BF5DDC0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995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CCD5B9-4FB4-4A63-A5C7-FC6C50312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508503F-3D53-44A0-AEF1-CC44360FC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84204" y="4767264"/>
            <a:ext cx="50259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962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CCD5B9-4FB4-4A63-A5C7-FC6C50312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6493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4B748E-F653-4428-83A3-38BD98BE6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1A0607-819B-47BE-9EB6-48A167F628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65117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1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9796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263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25146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820" y="1643240"/>
            <a:ext cx="6324600" cy="11430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820" y="2839582"/>
            <a:ext cx="6324600" cy="1102519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20E41-8A6F-43AC-A399-14C255D96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4990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25146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820" y="1643240"/>
            <a:ext cx="6324600" cy="11430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820" y="2839581"/>
            <a:ext cx="6324600" cy="1102519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764391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00BC6BD-369A-486B-BDAF-F4969116A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BF6DA5F-4E51-452A-84DC-5ECFEDBC03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6532" y="819152"/>
            <a:ext cx="8220269" cy="365759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80766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33D153-3B20-416C-8100-2DF06B67D5F6}"/>
              </a:ext>
            </a:extLst>
          </p:cNvPr>
          <p:cNvSpPr/>
          <p:nvPr userDrawn="1"/>
        </p:nvSpPr>
        <p:spPr>
          <a:xfrm>
            <a:off x="0" y="0"/>
            <a:ext cx="9144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E338CC-1EA3-4B77-A3CE-E222B30A48F7}"/>
              </a:ext>
            </a:extLst>
          </p:cNvPr>
          <p:cNvSpPr txBox="1"/>
          <p:nvPr userDrawn="1"/>
        </p:nvSpPr>
        <p:spPr>
          <a:xfrm>
            <a:off x="2514600" y="1977510"/>
            <a:ext cx="4114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full-screen image here</a:t>
            </a:r>
          </a:p>
        </p:txBody>
      </p:sp>
    </p:spTree>
    <p:extLst>
      <p:ext uri="{BB962C8B-B14F-4D97-AF65-F5344CB8AC3E}">
        <p14:creationId xmlns:p14="http://schemas.microsoft.com/office/powerpoint/2010/main" val="9883125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D59A9D08-B922-4E8E-AEA3-9931350F3E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693652-EE4D-4BBE-B51B-B9C993D90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218" y="2095325"/>
            <a:ext cx="2875565" cy="952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9044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364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354872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25146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820" y="1643240"/>
            <a:ext cx="6324600" cy="11430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820" y="2839580"/>
            <a:ext cx="6324600" cy="1102519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982203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itle slide with text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1066800" y="203204"/>
            <a:ext cx="8077200" cy="92709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7620" y="4476750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876BE6F3-C6E9-4E48-B3B0-A6972330104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211580" y="295274"/>
            <a:ext cx="7924800" cy="742950"/>
          </a:xfrm>
        </p:spPr>
        <p:txBody>
          <a:bodyPr anchor="ctr"/>
          <a:lstStyle>
            <a:lvl1pPr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27739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itle slide - no text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6B1BEF4-6631-4293-9650-B886E938379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3279031"/>
            <a:ext cx="7848600" cy="742950"/>
          </a:xfrm>
        </p:spPr>
        <p:txBody>
          <a:bodyPr anchor="ctr"/>
          <a:lstStyle>
            <a:lvl1pPr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95605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6B1BEF4-6631-4293-9650-B886E938379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728358"/>
            <a:ext cx="6477000" cy="2517710"/>
          </a:xfrm>
        </p:spPr>
        <p:txBody>
          <a:bodyPr anchor="ctr">
            <a:normAutofit/>
          </a:bodyPr>
          <a:lstStyle>
            <a:lvl1pPr>
              <a:defRPr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C379BE7-AF38-4807-BF66-F4AE653100F9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5257800" y="2343150"/>
            <a:ext cx="3886200" cy="16033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41202889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361711"/>
            <a:ext cx="7467600" cy="3753327"/>
          </a:xfrm>
        </p:spPr>
        <p:txBody>
          <a:bodyPr anchor="ctr">
            <a:normAutofit/>
          </a:bodyPr>
          <a:lstStyle>
            <a:lvl1pPr>
              <a:defRPr sz="3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2430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25146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820" y="1643240"/>
            <a:ext cx="6324600" cy="1143000"/>
          </a:xfrm>
        </p:spPr>
        <p:txBody>
          <a:bodyPr>
            <a:normAutofit/>
          </a:bodyPr>
          <a:lstStyle>
            <a:lvl1pPr>
              <a:defRPr sz="32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820" y="2839582"/>
            <a:ext cx="6324600" cy="1102519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20E41-8A6F-43AC-A399-14C255D96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4990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0" y="0"/>
            <a:ext cx="4572000" cy="4171950"/>
          </a:xfrm>
          <a:prstGeom prst="rect">
            <a:avLst/>
          </a:prstGeom>
          <a:noFill/>
          <a:ln>
            <a:solidFill>
              <a:srgbClr val="B2B2B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57200" y="113822"/>
            <a:ext cx="3954780" cy="4260058"/>
          </a:xfrm>
        </p:spPr>
        <p:txBody>
          <a:bodyPr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22BA4C-CF48-477F-B999-6242F20A976F}"/>
              </a:ext>
            </a:extLst>
          </p:cNvPr>
          <p:cNvSpPr/>
          <p:nvPr userDrawn="1"/>
        </p:nvSpPr>
        <p:spPr>
          <a:xfrm>
            <a:off x="4572000" y="0"/>
            <a:ext cx="4572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image to fill this whole space</a:t>
            </a:r>
          </a:p>
        </p:txBody>
      </p:sp>
    </p:spTree>
    <p:extLst>
      <p:ext uri="{BB962C8B-B14F-4D97-AF65-F5344CB8AC3E}">
        <p14:creationId xmlns:p14="http://schemas.microsoft.com/office/powerpoint/2010/main" val="27896887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055"/>
            <a:ext cx="8229600" cy="627454"/>
          </a:xfrm>
        </p:spPr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531" y="819151"/>
            <a:ext cx="8220269" cy="365759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765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819153"/>
            <a:ext cx="4038600" cy="3657595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819153"/>
            <a:ext cx="4038600" cy="3657593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Line 3">
            <a:extLst>
              <a:ext uri="{FF2B5EF4-FFF2-40B4-BE49-F238E27FC236}">
                <a16:creationId xmlns:a16="http://schemas.microsoft.com/office/drawing/2014/main" id="{88943107-7474-44AB-85D6-34B79155958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83029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B690347-5AAB-4B3F-80EE-F80F78C2FA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19150"/>
            <a:ext cx="4572000" cy="3651924"/>
          </a:xfrm>
        </p:spPr>
        <p:txBody>
          <a:bodyPr/>
          <a:lstStyle>
            <a:lvl1pPr marL="457200" indent="-457200">
              <a:buFont typeface="Arial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2E04055-F8F4-4DA7-AAFD-0BD23D254DF1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105400" y="819149"/>
            <a:ext cx="3581400" cy="1752595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Line 3">
            <a:extLst>
              <a:ext uri="{FF2B5EF4-FFF2-40B4-BE49-F238E27FC236}">
                <a16:creationId xmlns:a16="http://schemas.microsoft.com/office/drawing/2014/main" id="{F7D19507-70E2-4A8B-B5BF-7AE6785418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25167B0-570A-4A97-B577-2B283277D37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05400" y="2718481"/>
            <a:ext cx="3581400" cy="1752595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72176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33D153-3B20-416C-8100-2DF06B67D5F6}"/>
              </a:ext>
            </a:extLst>
          </p:cNvPr>
          <p:cNvSpPr/>
          <p:nvPr userDrawn="1"/>
        </p:nvSpPr>
        <p:spPr>
          <a:xfrm>
            <a:off x="0" y="0"/>
            <a:ext cx="9144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E338CC-1EA3-4B77-A3CE-E222B30A48F7}"/>
              </a:ext>
            </a:extLst>
          </p:cNvPr>
          <p:cNvSpPr txBox="1"/>
          <p:nvPr userDrawn="1"/>
        </p:nvSpPr>
        <p:spPr>
          <a:xfrm>
            <a:off x="3108798" y="1915209"/>
            <a:ext cx="29264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full-screen image to fill this full space</a:t>
            </a:r>
          </a:p>
        </p:txBody>
      </p:sp>
    </p:spTree>
    <p:extLst>
      <p:ext uri="{BB962C8B-B14F-4D97-AF65-F5344CB8AC3E}">
        <p14:creationId xmlns:p14="http://schemas.microsoft.com/office/powerpoint/2010/main" val="20836296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989DB7-DAD2-4A5D-A0B1-654966A62B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539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D59A9D08-B922-4E8E-AEA3-9931350F3E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BA6B65D-09F4-4D94-91B1-8FEE8C58B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5660" y="1687217"/>
            <a:ext cx="3620220" cy="169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4438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165241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20E41-8A6F-43AC-A399-14C255D96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49493995-8697-4023-9FB3-9148BE80EB8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1771651"/>
            <a:ext cx="6324600" cy="1143000"/>
          </a:xfrm>
        </p:spPr>
        <p:txBody>
          <a:bodyPr anchor="ctr"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8952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BC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 hidden="1">
            <a:extLst>
              <a:ext uri="{FF2B5EF4-FFF2-40B4-BE49-F238E27FC236}">
                <a16:creationId xmlns:a16="http://schemas.microsoft.com/office/drawing/2014/main" id="{E5289ED8-BB29-2F40-A17C-ABAAF59628A3}"/>
              </a:ext>
            </a:extLst>
          </p:cNvPr>
          <p:cNvCxnSpPr>
            <a:cxnSpLocks/>
          </p:cNvCxnSpPr>
          <p:nvPr userDrawn="1"/>
        </p:nvCxnSpPr>
        <p:spPr>
          <a:xfrm>
            <a:off x="306161" y="519710"/>
            <a:ext cx="0" cy="480060"/>
          </a:xfrm>
          <a:prstGeom prst="line">
            <a:avLst/>
          </a:prstGeom>
          <a:noFill/>
          <a:ln w="76200" cap="flat" cmpd="sng" algn="ctr">
            <a:solidFill>
              <a:srgbClr val="146BC9"/>
            </a:solidFill>
            <a:prstDash val="solid"/>
          </a:ln>
          <a:effectLst/>
        </p:spPr>
      </p:cxnSp>
      <p:cxnSp>
        <p:nvCxnSpPr>
          <p:cNvPr id="22" name="Straight Connector 21" hidden="1">
            <a:extLst>
              <a:ext uri="{FF2B5EF4-FFF2-40B4-BE49-F238E27FC236}">
                <a16:creationId xmlns:a16="http://schemas.microsoft.com/office/drawing/2014/main" id="{5DDFB607-5EA9-B147-B9F3-19EEBD4B1FAE}"/>
              </a:ext>
            </a:extLst>
          </p:cNvPr>
          <p:cNvCxnSpPr>
            <a:cxnSpLocks/>
          </p:cNvCxnSpPr>
          <p:nvPr userDrawn="1"/>
        </p:nvCxnSpPr>
        <p:spPr>
          <a:xfrm flipH="1">
            <a:off x="457200" y="431102"/>
            <a:ext cx="8229600" cy="0"/>
          </a:xfrm>
          <a:prstGeom prst="line">
            <a:avLst/>
          </a:prstGeom>
          <a:noFill/>
          <a:ln w="12700" cap="flat" cmpd="sng" algn="ctr">
            <a:solidFill>
              <a:srgbClr val="146BC9"/>
            </a:solidFill>
            <a:prstDash val="solid"/>
          </a:ln>
          <a:effectLst/>
        </p:spPr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C198680-D3B8-B04D-9EF0-1746AD7759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191125"/>
            <a:ext cx="8229599" cy="15863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lang="en-US" sz="675" b="1" i="0" cap="all" spc="75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171450" lvl="0" indent="-171450">
              <a:lnSpc>
                <a:spcPct val="130000"/>
              </a:lnSpc>
            </a:pPr>
            <a:r>
              <a:rPr lang="en-US"/>
              <a:t>Breadcrumb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6A14A75-AC45-DC45-963A-32873A370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349758"/>
            <a:ext cx="8229599" cy="6172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400" noProof="0"/>
            </a:lvl1pPr>
          </a:lstStyle>
          <a:p>
            <a:pPr lvl="0" fontAlgn="t">
              <a:lnSpc>
                <a:spcPct val="100000"/>
              </a:lnSpc>
              <a:spcAft>
                <a:spcPts val="0"/>
              </a:spcAft>
            </a:pPr>
            <a:r>
              <a:rPr lang="en-US" noProof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14368169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3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00BC6BD-369A-486B-BDAF-F4969116A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BF6DA5F-4E51-452A-84DC-5ECFEDBC03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6533" y="819152"/>
            <a:ext cx="8220269" cy="365759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4639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165241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20E41-8A6F-43AC-A399-14C255D96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49493995-8697-4023-9FB3-9148BE80EB8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1771651"/>
            <a:ext cx="6324600" cy="1143000"/>
          </a:xfrm>
        </p:spPr>
        <p:txBody>
          <a:bodyPr anchor="ctr"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22364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4B748E-F653-4428-83A3-38BD98BE6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1A0607-819B-47BE-9EB6-48A167F628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62723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8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6495479" y="4860031"/>
            <a:ext cx="1939290" cy="92333"/>
          </a:xfrm>
          <a:prstGeom prst="rect">
            <a:avLst/>
          </a:prstGeom>
        </p:spPr>
        <p:txBody>
          <a:bodyPr lIns="0" tIns="0" rIns="0" bIns="0"/>
          <a:lstStyle>
            <a:lvl1pPr>
              <a:defRPr sz="600" b="0" i="0">
                <a:solidFill>
                  <a:schemeClr val="tx1"/>
                </a:solidFill>
                <a:latin typeface="+mj-lt"/>
                <a:cs typeface="Verdana"/>
              </a:defRPr>
            </a:lvl1pPr>
          </a:lstStyle>
          <a:p>
            <a:pPr marL="9525"/>
            <a:r>
              <a:rPr lang="en-US" b="1" spc="-4" dirty="0"/>
              <a:t>EATON </a:t>
            </a:r>
            <a:r>
              <a:rPr lang="en-US" spc="-4" dirty="0"/>
              <a:t>|</a:t>
            </a:r>
            <a:r>
              <a:rPr lang="en-US" dirty="0"/>
              <a:t> </a:t>
            </a:r>
            <a:r>
              <a:rPr lang="en-US" spc="-8" dirty="0"/>
              <a:t>T</a:t>
            </a:r>
            <a:r>
              <a:rPr lang="en-US" spc="-4" dirty="0"/>
              <a:t>op</a:t>
            </a:r>
            <a:r>
              <a:rPr lang="en-US" dirty="0"/>
              <a:t> </a:t>
            </a:r>
            <a:r>
              <a:rPr lang="en-US" spc="-4" dirty="0"/>
              <a:t>Do</a:t>
            </a:r>
            <a:r>
              <a:rPr lang="en-US" spc="-11" dirty="0"/>
              <a:t>w</a:t>
            </a:r>
            <a:r>
              <a:rPr lang="en-US" spc="-4" dirty="0"/>
              <a:t>n B</a:t>
            </a:r>
            <a:r>
              <a:rPr lang="en-US" spc="-8" dirty="0"/>
              <a:t>u</a:t>
            </a:r>
            <a:r>
              <a:rPr lang="en-US" spc="-4" dirty="0"/>
              <a:t>s</a:t>
            </a:r>
            <a:r>
              <a:rPr lang="en-US" spc="-8" dirty="0"/>
              <a:t>ine</a:t>
            </a:r>
            <a:r>
              <a:rPr lang="en-US" spc="-4" dirty="0"/>
              <a:t>ss</a:t>
            </a:r>
            <a:r>
              <a:rPr lang="en-US" spc="11" dirty="0"/>
              <a:t> </a:t>
            </a:r>
            <a:r>
              <a:rPr lang="en-US" spc="-4" dirty="0"/>
              <a:t>C</a:t>
            </a:r>
            <a:r>
              <a:rPr lang="en-US" spc="-8" dirty="0"/>
              <a:t>a</a:t>
            </a:r>
            <a:r>
              <a:rPr lang="en-US" spc="-4" dirty="0"/>
              <a:t>se </a:t>
            </a:r>
            <a:r>
              <a:rPr lang="en-US" spc="-11" dirty="0"/>
              <a:t>a</a:t>
            </a:r>
            <a:r>
              <a:rPr lang="en-US" spc="-8" dirty="0"/>
              <a:t>n</a:t>
            </a:r>
            <a:r>
              <a:rPr lang="en-US" spc="-4" dirty="0"/>
              <a:t>d</a:t>
            </a:r>
            <a:r>
              <a:rPr lang="en-US" spc="-8" dirty="0"/>
              <a:t> </a:t>
            </a:r>
            <a:r>
              <a:rPr lang="en-US" dirty="0"/>
              <a:t>R</a:t>
            </a:r>
            <a:r>
              <a:rPr lang="en-US" spc="-4" dirty="0"/>
              <a:t>o</a:t>
            </a:r>
            <a:r>
              <a:rPr lang="en-US" spc="-8" dirty="0"/>
              <a:t>adma</a:t>
            </a:r>
            <a:r>
              <a:rPr lang="en-US" spc="-4" dirty="0"/>
              <a:t>p</a:t>
            </a:r>
            <a:r>
              <a:rPr lang="en-US" spc="-8" dirty="0"/>
              <a:t> </a:t>
            </a:r>
            <a:r>
              <a:rPr lang="en-US" spc="-4" dirty="0"/>
              <a:t>As</a:t>
            </a:r>
            <a:r>
              <a:rPr lang="en-US" spc="-8" dirty="0"/>
              <a:t>se</a:t>
            </a:r>
            <a:r>
              <a:rPr lang="en-US" spc="-4" dirty="0"/>
              <a:t>s</a:t>
            </a:r>
            <a:r>
              <a:rPr lang="en-US" spc="-8" dirty="0"/>
              <a:t>smen</a:t>
            </a:r>
            <a:r>
              <a:rPr lang="en-US" spc="-4" dirty="0"/>
              <a:t>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object 38"/>
          <p:cNvSpPr txBox="1">
            <a:spLocks noGrp="1"/>
          </p:cNvSpPr>
          <p:nvPr>
            <p:ph type="sldNum" sz="quarter" idx="4"/>
          </p:nvPr>
        </p:nvSpPr>
        <p:spPr>
          <a:xfrm>
            <a:off x="8524493" y="4860032"/>
            <a:ext cx="288036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600">
                <a:latin typeface="+mj-lt"/>
              </a:defRPr>
            </a:lvl1pPr>
          </a:lstStyle>
          <a:p>
            <a:pPr marL="56198">
              <a:defRPr/>
            </a:pPr>
            <a:fld id="{81D60167-4931-47E6-BA6A-407CBD079E47}" type="slidenum">
              <a:rPr lang="en-US" spc="-4" smtClean="0">
                <a:solidFill>
                  <a:prstClr val="black"/>
                </a:solidFill>
                <a:cs typeface="Verdana"/>
              </a:rPr>
              <a:pPr marL="56198">
                <a:defRPr/>
              </a:pPr>
              <a:t>‹#›</a:t>
            </a:fld>
            <a:endParaRPr lang="en-US" spc="-4" dirty="0">
              <a:solidFill>
                <a:prstClr val="black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565596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25146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820" y="1643240"/>
            <a:ext cx="6324600" cy="11430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820" y="2839582"/>
            <a:ext cx="6324600" cy="1102519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887318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itle slide with text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1066800" y="203204"/>
            <a:ext cx="8077200" cy="92709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7620" y="4476750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876BE6F3-C6E9-4E48-B3B0-A6972330104F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11580" y="295274"/>
            <a:ext cx="7924800" cy="742950"/>
          </a:xfrm>
        </p:spPr>
        <p:txBody>
          <a:bodyPr anchor="ctr"/>
          <a:lstStyle>
            <a:lvl1pPr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33236542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itle slide - no text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A48C600-B0A3-41BF-89B0-CF0B9C874EEE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ACBED7F7-FAD5-4467-81D2-74A6D05D4BB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3279031"/>
            <a:ext cx="7848600" cy="742950"/>
          </a:xfrm>
        </p:spPr>
        <p:txBody>
          <a:bodyPr anchor="ctr"/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44915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6B1BEF4-6631-4293-9650-B886E938379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728359"/>
            <a:ext cx="6477000" cy="2517710"/>
          </a:xfrm>
        </p:spPr>
        <p:txBody>
          <a:bodyPr anchor="ctr">
            <a:normAutofit/>
          </a:bodyPr>
          <a:lstStyle>
            <a:lvl1pPr>
              <a:defRPr sz="4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C379BE7-AF38-4807-BF66-F4AE653100F9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5257800" y="2343151"/>
            <a:ext cx="3886200" cy="16033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2434532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361712"/>
            <a:ext cx="7467600" cy="3753327"/>
          </a:xfrm>
        </p:spPr>
        <p:txBody>
          <a:bodyPr anchor="ctr">
            <a:norm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97126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 bloc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7ABED1B-9CA4-4FA0-A32C-089057E97FB0}"/>
              </a:ext>
            </a:extLst>
          </p:cNvPr>
          <p:cNvSpPr/>
          <p:nvPr userDrawn="1"/>
        </p:nvSpPr>
        <p:spPr bwMode="auto">
          <a:xfrm>
            <a:off x="0" y="0"/>
            <a:ext cx="4572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0" y="0"/>
            <a:ext cx="4572000" cy="4171950"/>
          </a:xfrm>
          <a:prstGeom prst="rect">
            <a:avLst/>
          </a:prstGeom>
          <a:noFill/>
          <a:ln>
            <a:solidFill>
              <a:srgbClr val="B2B2B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57200" y="113822"/>
            <a:ext cx="3954780" cy="3905728"/>
          </a:xfrm>
        </p:spPr>
        <p:txBody>
          <a:bodyPr anchor="ctr">
            <a:normAutofit/>
          </a:bodyPr>
          <a:lstStyle>
            <a:lvl1pPr>
              <a:defRPr sz="36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22BA4C-CF48-477F-B999-6242F20A976F}"/>
              </a:ext>
            </a:extLst>
          </p:cNvPr>
          <p:cNvSpPr/>
          <p:nvPr userDrawn="1"/>
        </p:nvSpPr>
        <p:spPr>
          <a:xfrm>
            <a:off x="4572000" y="0"/>
            <a:ext cx="4572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865189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00BC6BD-369A-486B-BDAF-F4969116A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BF6DA5F-4E51-452A-84DC-5ECFEDBC03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6533" y="819152"/>
            <a:ext cx="8220269" cy="365759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51216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819155"/>
            <a:ext cx="4038600" cy="3657595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819155"/>
            <a:ext cx="4038600" cy="3657593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Line 3">
            <a:extLst>
              <a:ext uri="{FF2B5EF4-FFF2-40B4-BE49-F238E27FC236}">
                <a16:creationId xmlns:a16="http://schemas.microsoft.com/office/drawing/2014/main" id="{88943107-7474-44AB-85D6-34B79155958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049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6B1BEF4-6631-4293-9650-B886E938379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1771651"/>
            <a:ext cx="6858000" cy="1143000"/>
          </a:xfrm>
        </p:spPr>
        <p:txBody>
          <a:bodyPr anchor="ctr"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C379BE7-AF38-4807-BF66-F4AE653100F9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5257800" y="2343151"/>
            <a:ext cx="3886200" cy="16033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endParaRPr lang="en-US" sz="200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DD09BC-C221-4EC0-8C2E-97CDF07753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0530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B690347-5AAB-4B3F-80EE-F80F78C2FA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19150"/>
            <a:ext cx="4572000" cy="3651924"/>
          </a:xfrm>
        </p:spPr>
        <p:txBody>
          <a:bodyPr/>
          <a:lstStyle>
            <a:lvl1pPr marL="457178" indent="-457178">
              <a:buFont typeface="Arial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2E04055-F8F4-4DA7-AAFD-0BD23D254DF1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105400" y="819151"/>
            <a:ext cx="3581400" cy="1752595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Line 3">
            <a:extLst>
              <a:ext uri="{FF2B5EF4-FFF2-40B4-BE49-F238E27FC236}">
                <a16:creationId xmlns:a16="http://schemas.microsoft.com/office/drawing/2014/main" id="{F7D19507-70E2-4A8B-B5BF-7AE6785418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25167B0-570A-4A97-B577-2B283277D37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05400" y="2718483"/>
            <a:ext cx="3581400" cy="1752595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11604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2248"/>
            <a:ext cx="8229600" cy="651262"/>
          </a:xfrm>
        </p:spPr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19151"/>
            <a:ext cx="4040188" cy="812006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1631157"/>
            <a:ext cx="4040188" cy="2845594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819151"/>
            <a:ext cx="4040189" cy="812006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28" y="1631157"/>
            <a:ext cx="4040189" cy="2845594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Line 3">
            <a:extLst>
              <a:ext uri="{FF2B5EF4-FFF2-40B4-BE49-F238E27FC236}">
                <a16:creationId xmlns:a16="http://schemas.microsoft.com/office/drawing/2014/main" id="{0B447A54-BE9F-404C-9B5C-99995036D0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8450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33D153-3B20-416C-8100-2DF06B67D5F6}"/>
              </a:ext>
            </a:extLst>
          </p:cNvPr>
          <p:cNvSpPr/>
          <p:nvPr userDrawn="1"/>
        </p:nvSpPr>
        <p:spPr>
          <a:xfrm>
            <a:off x="0" y="0"/>
            <a:ext cx="9144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E338CC-1EA3-4B77-A3CE-E222B30A48F7}"/>
              </a:ext>
            </a:extLst>
          </p:cNvPr>
          <p:cNvSpPr txBox="1"/>
          <p:nvPr userDrawn="1"/>
        </p:nvSpPr>
        <p:spPr>
          <a:xfrm>
            <a:off x="2514600" y="1977511"/>
            <a:ext cx="4114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full-screen image here</a:t>
            </a:r>
          </a:p>
        </p:txBody>
      </p:sp>
    </p:spTree>
    <p:extLst>
      <p:ext uri="{BB962C8B-B14F-4D97-AF65-F5344CB8AC3E}">
        <p14:creationId xmlns:p14="http://schemas.microsoft.com/office/powerpoint/2010/main" val="7921159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D59A9D08-B922-4E8E-AEA3-9931350F3E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693652-EE4D-4BBE-B51B-B9C993D90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219" y="2095325"/>
            <a:ext cx="2875565" cy="952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2048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/>
        </p:nvSpPr>
        <p:spPr bwMode="auto">
          <a:xfrm>
            <a:off x="3657601" y="4904185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2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206500" y="114300"/>
            <a:ext cx="7924800" cy="742950"/>
          </a:xfrm>
        </p:spPr>
        <p:txBody>
          <a:bodyPr anchor="ctr"/>
          <a:lstStyle>
            <a:lvl1pPr>
              <a:defRPr sz="2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381000" y="0"/>
            <a:ext cx="8763000" cy="3943350"/>
          </a:xfrm>
          <a:prstGeom prst="rect">
            <a:avLst/>
          </a:prstGeom>
          <a:noFill/>
          <a:ln>
            <a:solidFill>
              <a:srgbClr val="B2B2B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932" y="4476751"/>
            <a:ext cx="1455269" cy="482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121975"/>
      </p:ext>
    </p:extLst>
  </p:cSld>
  <p:clrMapOvr>
    <a:masterClrMapping/>
  </p:clrMapOvr>
  <p:transition spd="med">
    <p:wipe dir="d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532" y="819152"/>
            <a:ext cx="8220269" cy="365759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683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25146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820" y="1643240"/>
            <a:ext cx="6324600" cy="11430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820" y="2839583"/>
            <a:ext cx="6324600" cy="1102519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20E41-8A6F-43AC-A399-14C255D96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3806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33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6B1BEF4-6631-4293-9650-B886E938379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1771651"/>
            <a:ext cx="6858000" cy="1143000"/>
          </a:xfrm>
        </p:spPr>
        <p:txBody>
          <a:bodyPr anchor="ctr"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C379BE7-AF38-4807-BF66-F4AE653100F9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5257800" y="2343151"/>
            <a:ext cx="3886200" cy="16033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endParaRPr lang="en-US" sz="200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DD09BC-C221-4EC0-8C2E-97CDF07753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2234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33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361712"/>
            <a:ext cx="7467600" cy="3753327"/>
          </a:xfrm>
        </p:spPr>
        <p:txBody>
          <a:bodyPr anchor="ctr">
            <a:norm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DC6F61-EE4D-4FC1-A721-D4FA40B7D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90311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 bloc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7ABED1B-9CA4-4FA0-A32C-089057E97FB0}"/>
              </a:ext>
            </a:extLst>
          </p:cNvPr>
          <p:cNvSpPr/>
          <p:nvPr userDrawn="1"/>
        </p:nvSpPr>
        <p:spPr bwMode="auto">
          <a:xfrm>
            <a:off x="0" y="0"/>
            <a:ext cx="4572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33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0" y="0"/>
            <a:ext cx="4572000" cy="4171950"/>
          </a:xfrm>
          <a:prstGeom prst="rect">
            <a:avLst/>
          </a:prstGeom>
          <a:noFill/>
          <a:ln>
            <a:solidFill>
              <a:srgbClr val="B2B2B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33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57200" y="113822"/>
            <a:ext cx="3954780" cy="3905728"/>
          </a:xfrm>
        </p:spPr>
        <p:txBody>
          <a:bodyPr anchor="ctr">
            <a:normAutofit/>
          </a:bodyPr>
          <a:lstStyle>
            <a:lvl1pPr>
              <a:defRPr sz="36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22BA4C-CF48-477F-B999-6242F20A976F}"/>
              </a:ext>
            </a:extLst>
          </p:cNvPr>
          <p:cNvSpPr/>
          <p:nvPr userDrawn="1"/>
        </p:nvSpPr>
        <p:spPr>
          <a:xfrm>
            <a:off x="4572000" y="0"/>
            <a:ext cx="4572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D98EC9-24F3-4401-800A-C4D634D194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136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361712"/>
            <a:ext cx="7467600" cy="3753327"/>
          </a:xfrm>
        </p:spPr>
        <p:txBody>
          <a:bodyPr anchor="ctr">
            <a:normAutofit/>
          </a:bodyPr>
          <a:lstStyle>
            <a:lvl1pPr>
              <a:defRPr sz="4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DC6F61-EE4D-4FC1-A721-D4FA40B7D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28653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4B748E-F653-4428-83A3-38BD98BE6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1A0607-819B-47BE-9EB6-48A167F628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58019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819156"/>
            <a:ext cx="4038600" cy="3657595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819156"/>
            <a:ext cx="4038600" cy="3657593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Line 3">
            <a:extLst>
              <a:ext uri="{FF2B5EF4-FFF2-40B4-BE49-F238E27FC236}">
                <a16:creationId xmlns:a16="http://schemas.microsoft.com/office/drawing/2014/main" id="{88943107-7474-44AB-85D6-34B79155958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31944F-94FF-4BCD-965A-F7A9492ABB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366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833D153-3B20-416C-8100-2DF06B67D5F6}"/>
              </a:ext>
            </a:extLst>
          </p:cNvPr>
          <p:cNvSpPr/>
          <p:nvPr userDrawn="1"/>
        </p:nvSpPr>
        <p:spPr>
          <a:xfrm>
            <a:off x="0" y="0"/>
            <a:ext cx="9144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E338CC-1EA3-4B77-A3CE-E222B30A48F7}"/>
              </a:ext>
            </a:extLst>
          </p:cNvPr>
          <p:cNvSpPr txBox="1"/>
          <p:nvPr userDrawn="1"/>
        </p:nvSpPr>
        <p:spPr>
          <a:xfrm>
            <a:off x="2514600" y="1977512"/>
            <a:ext cx="4114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full-screen imag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19EF6D-BBC2-4D60-9344-88C4B02DF7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2641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947805C-B47E-4651-8337-9789FA0E04B5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66C67F-B443-438F-A80D-76526C0B9E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2810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D59A9D08-B922-4E8E-AEA3-9931350F3E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693652-EE4D-4BBE-B51B-B9C993D90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220" y="2095325"/>
            <a:ext cx="2875565" cy="952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2015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itle slide with text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1066800" y="203204"/>
            <a:ext cx="8077200" cy="92709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-7620" y="4476750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876BE6F3-C6E9-4E48-B3B0-A6972330104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211580" y="295274"/>
            <a:ext cx="7924800" cy="742950"/>
          </a:xfrm>
        </p:spPr>
        <p:txBody>
          <a:bodyPr anchor="ctr"/>
          <a:lstStyle>
            <a:lvl1pPr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86748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533" y="819152"/>
            <a:ext cx="8220269" cy="365759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303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533" y="819153"/>
            <a:ext cx="8220269" cy="1538281"/>
          </a:xfrm>
        </p:spPr>
        <p:txBody>
          <a:bodyPr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BD658E-063E-4171-9A4F-EC7FAD1A320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57201" y="2429320"/>
            <a:ext cx="4036218" cy="1538281"/>
          </a:xfrm>
        </p:spPr>
        <p:txBody>
          <a:bodyPr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1418CE0-AD6B-4CEF-A059-B507C6B598C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650584" y="2434972"/>
            <a:ext cx="4036217" cy="1538281"/>
          </a:xfrm>
        </p:spPr>
        <p:txBody>
          <a:bodyPr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2164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">
            <a:extLst>
              <a:ext uri="{FF2B5EF4-FFF2-40B4-BE49-F238E27FC236}">
                <a16:creationId xmlns:a16="http://schemas.microsoft.com/office/drawing/2014/main" id="{2D785AE0-41B9-4BBC-83AB-BCCA2639E1E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42FFB88-F673-4A97-BB48-2DEE3F3AE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6056"/>
            <a:ext cx="8229600" cy="627454"/>
          </a:xfrm>
        </p:spPr>
        <p:txBody>
          <a:bodyPr anchor="ctr">
            <a:normAutofit/>
          </a:bodyPr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7481E41-0E9C-4253-A60A-2B04D3D66CB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6533" y="819152"/>
            <a:ext cx="8220269" cy="365759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5856349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A510D2-1661-FE47-90E1-EF0B30AAE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95478"/>
            <a:ext cx="8229600" cy="3774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950" noProof="0"/>
            </a:lvl1pPr>
          </a:lstStyle>
          <a:p>
            <a:pPr lvl="0" fontAlgn="t">
              <a:lnSpc>
                <a:spcPct val="100000"/>
              </a:lnSpc>
              <a:spcAft>
                <a:spcPts val="0"/>
              </a:spcAft>
            </a:pPr>
            <a:r>
              <a:rPr lang="en-US" noProof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9723902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 bloc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7ABED1B-9CA4-4FA0-A32C-089057E97FB0}"/>
              </a:ext>
            </a:extLst>
          </p:cNvPr>
          <p:cNvSpPr/>
          <p:nvPr userDrawn="1"/>
        </p:nvSpPr>
        <p:spPr bwMode="auto">
          <a:xfrm>
            <a:off x="0" y="0"/>
            <a:ext cx="4572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0" y="0"/>
            <a:ext cx="4572000" cy="4171950"/>
          </a:xfrm>
          <a:prstGeom prst="rect">
            <a:avLst/>
          </a:prstGeom>
          <a:noFill/>
          <a:ln>
            <a:solidFill>
              <a:srgbClr val="B2B2B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57200" y="113822"/>
            <a:ext cx="3954780" cy="3905728"/>
          </a:xfrm>
        </p:spPr>
        <p:txBody>
          <a:bodyPr anchor="ctr">
            <a:normAutofit/>
          </a:bodyPr>
          <a:lstStyle>
            <a:lvl1pPr>
              <a:defRPr sz="36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22BA4C-CF48-477F-B999-6242F20A976F}"/>
              </a:ext>
            </a:extLst>
          </p:cNvPr>
          <p:cNvSpPr/>
          <p:nvPr userDrawn="1"/>
        </p:nvSpPr>
        <p:spPr>
          <a:xfrm>
            <a:off x="4572000" y="0"/>
            <a:ext cx="4572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D98EC9-24F3-4401-800A-C4D634D194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8919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57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361712"/>
            <a:ext cx="7467600" cy="3753327"/>
          </a:xfrm>
        </p:spPr>
        <p:txBody>
          <a:bodyPr anchor="ctr">
            <a:norm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DC6F61-EE4D-4FC1-A721-D4FA40B7D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0040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25146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820" y="1643240"/>
            <a:ext cx="6324600" cy="11430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820" y="2839582"/>
            <a:ext cx="6324600" cy="1102519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20E41-8A6F-43AC-A399-14C255D96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5863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25146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820" y="1643240"/>
            <a:ext cx="6324600" cy="1143000"/>
          </a:xfrm>
        </p:spPr>
        <p:txBody>
          <a:bodyPr>
            <a:normAutofit/>
          </a:bodyPr>
          <a:lstStyle>
            <a:lvl1pPr>
              <a:defRPr sz="32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820" y="2839582"/>
            <a:ext cx="6324600" cy="1102519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20E41-8A6F-43AC-A399-14C255D96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4938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165241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F20E41-8A6F-43AC-A399-14C255D96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49493995-8697-4023-9FB3-9148BE80EB8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1771651"/>
            <a:ext cx="6324600" cy="1143000"/>
          </a:xfrm>
        </p:spPr>
        <p:txBody>
          <a:bodyPr anchor="ctr"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06279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6B1BEF4-6631-4293-9650-B886E938379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1771651"/>
            <a:ext cx="6858000" cy="1143000"/>
          </a:xfrm>
        </p:spPr>
        <p:txBody>
          <a:bodyPr anchor="ctr"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C379BE7-AF38-4807-BF66-F4AE653100F9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5257800" y="2343151"/>
            <a:ext cx="3886200" cy="16033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endParaRPr lang="en-US" sz="200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DD09BC-C221-4EC0-8C2E-97CDF07753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1112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pactfu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" y="0"/>
            <a:ext cx="86868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3400" y="361712"/>
            <a:ext cx="7467600" cy="3753327"/>
          </a:xfrm>
        </p:spPr>
        <p:txBody>
          <a:bodyPr anchor="ctr">
            <a:normAutofit/>
          </a:bodyPr>
          <a:lstStyle>
            <a:lvl1pPr>
              <a:defRPr sz="4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DC6F61-EE4D-4FC1-A721-D4FA40B7D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8791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 block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7ABED1B-9CA4-4FA0-A32C-089057E97FB0}"/>
              </a:ext>
            </a:extLst>
          </p:cNvPr>
          <p:cNvSpPr/>
          <p:nvPr userDrawn="1"/>
        </p:nvSpPr>
        <p:spPr bwMode="auto">
          <a:xfrm>
            <a:off x="0" y="0"/>
            <a:ext cx="4572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95C0E-F896-4815-9A3A-1360CE463A10}"/>
              </a:ext>
            </a:extLst>
          </p:cNvPr>
          <p:cNvSpPr/>
          <p:nvPr userDrawn="1"/>
        </p:nvSpPr>
        <p:spPr bwMode="auto">
          <a:xfrm>
            <a:off x="4572000" y="0"/>
            <a:ext cx="4572000" cy="4171950"/>
          </a:xfrm>
          <a:prstGeom prst="rect">
            <a:avLst/>
          </a:prstGeom>
          <a:noFill/>
          <a:ln>
            <a:solidFill>
              <a:srgbClr val="B2B2B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5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B9E3206-64B3-4605-9E4B-9622A64D3A9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57200" y="113822"/>
            <a:ext cx="3954780" cy="3905728"/>
          </a:xfrm>
        </p:spPr>
        <p:txBody>
          <a:bodyPr anchor="ctr">
            <a:normAutofit/>
          </a:bodyPr>
          <a:lstStyle>
            <a:lvl1pPr>
              <a:defRPr sz="36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22BA4C-CF48-477F-B999-6242F20A976F}"/>
              </a:ext>
            </a:extLst>
          </p:cNvPr>
          <p:cNvSpPr/>
          <p:nvPr userDrawn="1"/>
        </p:nvSpPr>
        <p:spPr>
          <a:xfrm>
            <a:off x="4572000" y="0"/>
            <a:ext cx="4572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D98EC9-24F3-4401-800A-C4D634D194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4962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4B748E-F653-4428-83A3-38BD98BE6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1A0607-819B-47BE-9EB6-48A167F628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4390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1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819155"/>
            <a:ext cx="4038600" cy="3657595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819155"/>
            <a:ext cx="4038600" cy="3657593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Line 3">
            <a:extLst>
              <a:ext uri="{FF2B5EF4-FFF2-40B4-BE49-F238E27FC236}">
                <a16:creationId xmlns:a16="http://schemas.microsoft.com/office/drawing/2014/main" id="{88943107-7474-44AB-85D6-34B79155958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31944F-94FF-4BCD-965A-F7A9492ABB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067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">
            <a:extLst>
              <a:ext uri="{FF2B5EF4-FFF2-40B4-BE49-F238E27FC236}">
                <a16:creationId xmlns:a16="http://schemas.microsoft.com/office/drawing/2014/main" id="{8A9ABC05-FEEC-4AA2-8C85-5224B5060E2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4B748E-F653-4428-83A3-38BD98BE6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1A0607-819B-47BE-9EB6-48A167F628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02855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516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833D153-3B20-416C-8100-2DF06B67D5F6}"/>
              </a:ext>
            </a:extLst>
          </p:cNvPr>
          <p:cNvSpPr/>
          <p:nvPr userDrawn="1"/>
        </p:nvSpPr>
        <p:spPr>
          <a:xfrm>
            <a:off x="0" y="0"/>
            <a:ext cx="9144000" cy="4476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E338CC-1EA3-4B77-A3CE-E222B30A48F7}"/>
              </a:ext>
            </a:extLst>
          </p:cNvPr>
          <p:cNvSpPr txBox="1"/>
          <p:nvPr userDrawn="1"/>
        </p:nvSpPr>
        <p:spPr>
          <a:xfrm>
            <a:off x="2514600" y="1977511"/>
            <a:ext cx="4114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full-screen image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19EF6D-BBC2-4D60-9344-88C4B02DF7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26811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947805C-B47E-4651-8337-9789FA0E04B5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66C67F-B443-438F-A80D-76526C0B9E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73258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D59A9D08-B922-4E8E-AEA3-9931350F3E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693652-EE4D-4BBE-B51B-B9C993D90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219" y="2095325"/>
            <a:ext cx="2875565" cy="952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8981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row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80AE99EE-D0E7-4870-A880-7E7C66C8B0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35008" y="710274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CF325A03-4984-43CE-9F38-7741741BF5C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835008" y="1395606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C3F431F4-C396-4246-9CB6-F2AAB6BA790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835008" y="2080938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11571ADC-E417-4BE0-86E0-0190575A961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835008" y="2766270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1BCE421C-9EC0-4AD9-99A5-8DA4E398690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35008" y="3451604"/>
            <a:ext cx="6020197" cy="576072"/>
          </a:xfrm>
          <a:solidFill>
            <a:srgbClr val="F2F2F2"/>
          </a:solidFill>
          <a:ln>
            <a:noFill/>
          </a:ln>
        </p:spPr>
        <p:txBody>
          <a:bodyPr lIns="274320" tIns="91440" bIns="91440" anchor="ctr"/>
          <a:lstStyle>
            <a:lvl1pPr>
              <a:spcBef>
                <a:spcPts val="300"/>
              </a:spcBef>
              <a:spcAft>
                <a:spcPts val="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83742"/>
            <a:ext cx="8572500" cy="54431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EC5F10E-8295-475A-B504-1226765166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5752" y="4132868"/>
            <a:ext cx="8572498" cy="496283"/>
          </a:xfrm>
          <a:prstGeom prst="roundRect">
            <a:avLst>
              <a:gd name="adj" fmla="val 14602"/>
            </a:avLst>
          </a:prstGeom>
          <a:solidFill>
            <a:schemeClr val="tx2"/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Highlight 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92506EC-2863-40DA-9585-90C89854F4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796" y="706387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5A600E3-462E-4024-9B74-F0150A98FBF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8796" y="3447717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2DF296D-4152-4595-8D9D-D5DFFEEB8A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796" y="1391720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847ECB-275A-4E2B-88D8-48E7703A9A0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88796" y="2077053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FBA57B53-BEF4-47BF-B5EB-B78EC95A319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88796" y="2762386"/>
            <a:ext cx="2660904" cy="583849"/>
          </a:xfrm>
          <a:prstGeom prst="roundRect">
            <a:avLst>
              <a:gd name="adj" fmla="val 14602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anchor="ctr"/>
          <a:lstStyle>
            <a:lvl1pPr marL="0" indent="0" algn="ctr">
              <a:buNone/>
              <a:defRPr b="1">
                <a:solidFill>
                  <a:schemeClr val="tx2"/>
                </a:solidFill>
              </a:defRPr>
            </a:lvl1pPr>
            <a:lvl2pPr marL="342892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DCC3846-FE49-42E7-89D9-503BB9ABD2E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85751" y="4855137"/>
            <a:ext cx="7459149" cy="201168"/>
          </a:xfrm>
          <a:noFill/>
          <a:ln>
            <a:noFill/>
          </a:ln>
        </p:spPr>
        <p:txBody>
          <a:bodyPr lIns="91440" tIns="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171446" indent="0">
              <a:spcBef>
                <a:spcPts val="30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5925" indent="0">
              <a:spcBef>
                <a:spcPts val="30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spcBef>
                <a:spcPts val="300"/>
              </a:spcBef>
              <a:spcAft>
                <a:spcPts val="0"/>
              </a:spcAft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spcBef>
                <a:spcPts val="300"/>
              </a:spcBef>
              <a:spcAft>
                <a:spcPts val="0"/>
              </a:spcAft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35907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Form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Line 3">
            <a:extLst>
              <a:ext uri="{FF2B5EF4-FFF2-40B4-BE49-F238E27FC236}">
                <a16:creationId xmlns:a16="http://schemas.microsoft.com/office/drawing/2014/main" id="{B2BF30D2-D24B-4592-A877-4039ADF473D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71642"/>
            <a:ext cx="9144000" cy="0"/>
          </a:xfrm>
          <a:prstGeom prst="line">
            <a:avLst/>
          </a:prstGeom>
          <a:noFill/>
          <a:ln w="63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E6FA7-75F7-45C2-83EB-0F253C305C2A}"/>
              </a:ext>
            </a:extLst>
          </p:cNvPr>
          <p:cNvSpPr/>
          <p:nvPr userDrawn="1"/>
        </p:nvSpPr>
        <p:spPr>
          <a:xfrm>
            <a:off x="0" y="1498460"/>
            <a:ext cx="6858000" cy="2514600"/>
          </a:xfrm>
          <a:prstGeom prst="rect">
            <a:avLst/>
          </a:prstGeom>
          <a:solidFill>
            <a:schemeClr val="tx2">
              <a:alpha val="6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820" y="1643240"/>
            <a:ext cx="6324600" cy="114300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4820" y="2839580"/>
            <a:ext cx="6324600" cy="1102519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0018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819155"/>
            <a:ext cx="4038600" cy="3657595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819155"/>
            <a:ext cx="4038600" cy="3657593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Line 3">
            <a:extLst>
              <a:ext uri="{FF2B5EF4-FFF2-40B4-BE49-F238E27FC236}">
                <a16:creationId xmlns:a16="http://schemas.microsoft.com/office/drawing/2014/main" id="{88943107-7474-44AB-85D6-34B79155958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42056"/>
            <a:ext cx="9144000" cy="0"/>
          </a:xfrm>
          <a:prstGeom prst="line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31944F-94FF-4BCD-965A-F7A9492ABB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094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oleObject" Target="../embeddings/oleObject10.bin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43.xml"/><Relationship Id="rId16" Type="http://schemas.openxmlformats.org/officeDocument/2006/relationships/vmlDrawing" Target="../drawings/vmlDrawing10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51.xml"/><Relationship Id="rId19" Type="http://schemas.openxmlformats.org/officeDocument/2006/relationships/image" Target="../media/image6.emf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58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vmlDrawing" Target="../drawings/vmlDrawing11.vml"/><Relationship Id="rId2" Type="http://schemas.openxmlformats.org/officeDocument/2006/relationships/slideLayout" Target="../slideLayouts/slideLayout57.xml"/><Relationship Id="rId16" Type="http://schemas.openxmlformats.org/officeDocument/2006/relationships/theme" Target="../theme/theme1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19" Type="http://schemas.openxmlformats.org/officeDocument/2006/relationships/oleObject" Target="../embeddings/oleObject11.bin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oleObject" Target="../embeddings/oleObject12.bin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72.xml"/><Relationship Id="rId16" Type="http://schemas.openxmlformats.org/officeDocument/2006/relationships/vmlDrawing" Target="../drawings/vmlDrawing12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8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2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.v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22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oleObject" Target="../embeddings/oleObject8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27.xml"/><Relationship Id="rId21" Type="http://schemas.openxmlformats.org/officeDocument/2006/relationships/oleObject" Target="../embeddings/oleObject9.bin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34.xml"/><Relationship Id="rId19" Type="http://schemas.openxmlformats.org/officeDocument/2006/relationships/vmlDrawing" Target="../drawings/vmlDrawing9.v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2C4F4F-8CB1-4220-8530-9E1B8E9684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20195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7" imgW="353" imgH="353" progId="TCLayout.ActiveDocument.1">
                  <p:embed/>
                </p:oleObj>
              </mc:Choice>
              <mc:Fallback>
                <p:oleObj name="think-cell Slide" r:id="rId17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2C4F4F-8CB1-4220-8530-9E1B8E968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2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51780" y="4767264"/>
            <a:ext cx="53502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357E4D-5494-4F2B-B441-FAB0C9844ACB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32" y="4648241"/>
            <a:ext cx="1074269" cy="355971"/>
          </a:xfrm>
          <a:prstGeom prst="rect">
            <a:avLst/>
          </a:prstGeom>
        </p:spPr>
      </p:pic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2945" y="4826227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2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C9EC78-C7E5-4475-9114-DF3CE06903B2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62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0" r:id="rId2"/>
    <p:sldLayoutId id="2147483676" r:id="rId3"/>
    <p:sldLayoutId id="2147483893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6" r:id="rId10"/>
    <p:sldLayoutId id="2147483698" r:id="rId11"/>
    <p:sldLayoutId id="2147483699" r:id="rId12"/>
    <p:sldLayoutId id="2147484074" r:id="rId13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1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336" userDrawn="1">
          <p15:clr>
            <a:srgbClr val="F26B43"/>
          </p15:clr>
        </p15:guide>
        <p15:guide id="6" pos="5472" userDrawn="1">
          <p15:clr>
            <a:srgbClr val="F26B43"/>
          </p15:clr>
        </p15:guide>
        <p15:guide id="7" orient="horz" pos="2532" userDrawn="1">
          <p15:clr>
            <a:srgbClr val="F26B43"/>
          </p15:clr>
        </p15:guide>
        <p15:guide id="8" orient="horz" pos="516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06754-26F5-4BCF-BAA1-B5EFEC754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9401779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06754-26F5-4BCF-BAA1-B5EFEC754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2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357E4D-5494-4F2B-B441-FAB0C9844AC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32" y="4648241"/>
            <a:ext cx="1074269" cy="355971"/>
          </a:xfrm>
          <a:prstGeom prst="rect">
            <a:avLst/>
          </a:prstGeom>
        </p:spPr>
      </p:pic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2945" y="4826227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2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C9EC78-C7E5-4475-9114-DF3CE06903B2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06689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  <p:sldLayoutId id="2147484067" r:id="rId11"/>
    <p:sldLayoutId id="2147484068" r:id="rId12"/>
    <p:sldLayoutId id="2147484069" r:id="rId13"/>
    <p:sldLayoutId id="2147484070" r:id="rId14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>
          <p15:clr>
            <a:srgbClr val="F26B43"/>
          </p15:clr>
        </p15:guide>
        <p15:guide id="2" pos="2880">
          <p15:clr>
            <a:srgbClr val="F26B43"/>
          </p15:clr>
        </p15:guide>
        <p15:guide id="4" pos="288">
          <p15:clr>
            <a:srgbClr val="F26B43"/>
          </p15:clr>
        </p15:guide>
        <p15:guide id="5" pos="336">
          <p15:clr>
            <a:srgbClr val="F26B43"/>
          </p15:clr>
        </p15:guide>
        <p15:guide id="6" pos="5472">
          <p15:clr>
            <a:srgbClr val="F26B43"/>
          </p15:clr>
        </p15:guide>
        <p15:guide id="7" orient="horz" pos="2532">
          <p15:clr>
            <a:srgbClr val="F26B43"/>
          </p15:clr>
        </p15:guide>
        <p15:guide id="8" orient="horz" pos="51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C779D6-1EEE-4619-9E59-63B1C6246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984486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C779D6-1EEE-4619-9E59-63B1C6246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3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51780" y="4767264"/>
            <a:ext cx="53502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357E4D-5494-4F2B-B441-FAB0C9844ACB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33" y="4648241"/>
            <a:ext cx="1074269" cy="355971"/>
          </a:xfrm>
          <a:prstGeom prst="rect">
            <a:avLst/>
          </a:prstGeom>
        </p:spPr>
      </p:pic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2945" y="4826227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2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C9EC78-C7E5-4475-9114-DF3CE06903B2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  <p:graphicFrame>
        <p:nvGraphicFramePr>
          <p:cNvPr id="4" name="Draft Stamp">
            <a:extLst>
              <a:ext uri="{FF2B5EF4-FFF2-40B4-BE49-F238E27FC236}">
                <a16:creationId xmlns:a16="http://schemas.microsoft.com/office/drawing/2014/main" id="{F35B1978-7ACA-45F9-8433-85C3D5F462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1719371"/>
              </p:ext>
            </p:extLst>
          </p:nvPr>
        </p:nvGraphicFramePr>
        <p:xfrm>
          <a:off x="7874001" y="0"/>
          <a:ext cx="1270000" cy="38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2139003296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C3300"/>
                          </a:solidFill>
                          <a:latin typeface="Calibri" panose="020F0502020204030204" pitchFamily="34" charset="0"/>
                        </a:rPr>
                        <a:t>DRAFT</a:t>
                      </a:r>
                    </a:p>
                  </a:txBody>
                  <a:tcPr marT="0" marB="0" anchorCtr="1">
                    <a:lnT w="12700" cmpd="sng">
                      <a:solidFill>
                        <a:srgbClr val="CC3300"/>
                      </a:solidFill>
                    </a:lnT>
                    <a:lnB w="38100" cmpd="sng">
                      <a:solidFill>
                        <a:srgbClr val="CC33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51563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496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6" r:id="rId1"/>
    <p:sldLayoutId id="2147484077" r:id="rId2"/>
    <p:sldLayoutId id="2147484078" r:id="rId3"/>
    <p:sldLayoutId id="2147484079" r:id="rId4"/>
    <p:sldLayoutId id="2147484080" r:id="rId5"/>
    <p:sldLayoutId id="2147484081" r:id="rId6"/>
    <p:sldLayoutId id="2147484082" r:id="rId7"/>
    <p:sldLayoutId id="2147484083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</p:sldLayoutIdLst>
  <p:hf hdr="0" ftr="0" dt="0"/>
  <p:txStyles>
    <p:titleStyle>
      <a:lvl1pPr algn="l" defTabSz="914355" rtl="0" eaLnBrk="1" latinLnBrk="0" hangingPunct="1">
        <a:spcBef>
          <a:spcPct val="0"/>
        </a:spcBef>
        <a:buNone/>
        <a:defRPr sz="21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13" indent="-285736" algn="l" defTabSz="91435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44" indent="-228588" algn="l" defTabSz="91435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20" indent="-228588" algn="l" defTabSz="91435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09" indent="0" algn="l" defTabSz="914355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>
          <p15:clr>
            <a:srgbClr val="F26B43"/>
          </p15:clr>
        </p15:guide>
        <p15:guide id="2" pos="2880">
          <p15:clr>
            <a:srgbClr val="F26B43"/>
          </p15:clr>
        </p15:guide>
        <p15:guide id="4" pos="288">
          <p15:clr>
            <a:srgbClr val="F26B43"/>
          </p15:clr>
        </p15:guide>
        <p15:guide id="5" pos="336">
          <p15:clr>
            <a:srgbClr val="F26B43"/>
          </p15:clr>
        </p15:guide>
        <p15:guide id="6" pos="5472">
          <p15:clr>
            <a:srgbClr val="F26B43"/>
          </p15:clr>
        </p15:guide>
        <p15:guide id="7" orient="horz" pos="2532">
          <p15:clr>
            <a:srgbClr val="F26B43"/>
          </p15:clr>
        </p15:guide>
        <p15:guide id="8" orient="horz" pos="516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2C4F4F-8CB1-4220-8530-9E1B8E9684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20195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8" name="think-cell Slide" r:id="rId18" imgW="353" imgH="353" progId="TCLayout.ActiveDocument.1">
                  <p:embed/>
                </p:oleObj>
              </mc:Choice>
              <mc:Fallback>
                <p:oleObj name="think-cell Slide" r:id="rId18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2C4F4F-8CB1-4220-8530-9E1B8E968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2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51780" y="4767264"/>
            <a:ext cx="53502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357E4D-5494-4F2B-B441-FAB0C9844AC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32" y="4648241"/>
            <a:ext cx="1074269" cy="355971"/>
          </a:xfrm>
          <a:prstGeom prst="rect">
            <a:avLst/>
          </a:prstGeom>
        </p:spPr>
      </p:pic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2945" y="4826227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3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C9EC78-C7E5-4475-9114-DF3CE06903B2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4991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2" r:id="rId9"/>
    <p:sldLayoutId id="2147484103" r:id="rId10"/>
    <p:sldLayoutId id="2147484104" r:id="rId11"/>
    <p:sldLayoutId id="2147484105" r:id="rId12"/>
    <p:sldLayoutId id="2147484106" r:id="rId13"/>
    <p:sldLayoutId id="2147484107" r:id="rId14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1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>
          <p15:clr>
            <a:srgbClr val="F26B43"/>
          </p15:clr>
        </p15:guide>
        <p15:guide id="2" pos="2880">
          <p15:clr>
            <a:srgbClr val="F26B43"/>
          </p15:clr>
        </p15:guide>
        <p15:guide id="4" pos="288">
          <p15:clr>
            <a:srgbClr val="F26B43"/>
          </p15:clr>
        </p15:guide>
        <p15:guide id="5" pos="336">
          <p15:clr>
            <a:srgbClr val="F26B43"/>
          </p15:clr>
        </p15:guide>
        <p15:guide id="6" pos="5472">
          <p15:clr>
            <a:srgbClr val="F26B43"/>
          </p15:clr>
        </p15:guide>
        <p15:guide id="7" orient="horz" pos="2532">
          <p15:clr>
            <a:srgbClr val="F26B43"/>
          </p15:clr>
        </p15:guide>
        <p15:guide id="8" orient="horz" pos="5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B32D8A-AC98-4226-991C-13DE64B82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11218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FB32D8A-AC98-4226-991C-13DE64B82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2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84204" y="4767264"/>
            <a:ext cx="50259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2945" y="4826227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2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C9EC78-C7E5-4475-9114-DF3CE06903B2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650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1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336" userDrawn="1">
          <p15:clr>
            <a:srgbClr val="F26B43"/>
          </p15:clr>
        </p15:guide>
        <p15:guide id="6" pos="5472" userDrawn="1">
          <p15:clr>
            <a:srgbClr val="F26B43"/>
          </p15:clr>
        </p15:guide>
        <p15:guide id="7" orient="horz" pos="2532" userDrawn="1">
          <p15:clr>
            <a:srgbClr val="F26B43"/>
          </p15:clr>
        </p15:guide>
        <p15:guide id="8" orient="horz" pos="51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B2025D-3AEF-40B9-A0A7-452572B38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8738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B2025D-3AEF-40B9-A0A7-452572B38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2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357E4D-5494-4F2B-B441-FAB0C9844AC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32" y="4648241"/>
            <a:ext cx="1074269" cy="355971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D350F08-1F12-4686-95FE-2411F3FA3D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84204" y="4767264"/>
            <a:ext cx="50259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028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1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336" userDrawn="1">
          <p15:clr>
            <a:srgbClr val="F26B43"/>
          </p15:clr>
        </p15:guide>
        <p15:guide id="6" pos="5472" userDrawn="1">
          <p15:clr>
            <a:srgbClr val="F26B43"/>
          </p15:clr>
        </p15:guide>
        <p15:guide id="7" orient="horz" pos="2532" userDrawn="1">
          <p15:clr>
            <a:srgbClr val="F26B43"/>
          </p15:clr>
        </p15:guide>
        <p15:guide id="8" orient="horz" pos="516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5DAF75-0AD8-456F-BDA2-A92253253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00194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25DAF75-0AD8-456F-BDA2-A92253253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2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357E4D-5494-4F2B-B441-FAB0C9844AC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32" y="4648241"/>
            <a:ext cx="1074269" cy="355971"/>
          </a:xfrm>
          <a:prstGeom prst="rect">
            <a:avLst/>
          </a:prstGeom>
        </p:spPr>
      </p:pic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2945" y="4826227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2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C9EC78-C7E5-4475-9114-DF3CE06903B2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68418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</p:sldLayoutIdLst>
  <p:hf sldNum="0" hdr="0" ftr="0" dt="0"/>
  <p:txStyles>
    <p:titleStyle>
      <a:lvl1pPr algn="l" defTabSz="914378" rtl="0" eaLnBrk="1" latinLnBrk="0" hangingPunct="1">
        <a:spcBef>
          <a:spcPct val="0"/>
        </a:spcBef>
        <a:buNone/>
        <a:defRPr sz="1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336" userDrawn="1">
          <p15:clr>
            <a:srgbClr val="F26B43"/>
          </p15:clr>
        </p15:guide>
        <p15:guide id="6" pos="5472" userDrawn="1">
          <p15:clr>
            <a:srgbClr val="F26B43"/>
          </p15:clr>
        </p15:guide>
        <p15:guide id="7" orient="horz" pos="2532" userDrawn="1">
          <p15:clr>
            <a:srgbClr val="F26B43"/>
          </p15:clr>
        </p15:guide>
        <p15:guide id="8" orient="horz" pos="51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77BB2D-B959-43D1-8745-8609737E86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71335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77BB2D-B959-43D1-8745-8609737E86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2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51780" y="4767264"/>
            <a:ext cx="53502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557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1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336" userDrawn="1">
          <p15:clr>
            <a:srgbClr val="F26B43"/>
          </p15:clr>
        </p15:guide>
        <p15:guide id="6" pos="5472" userDrawn="1">
          <p15:clr>
            <a:srgbClr val="F26B43"/>
          </p15:clr>
        </p15:guide>
        <p15:guide id="7" orient="horz" pos="2532" userDrawn="1">
          <p15:clr>
            <a:srgbClr val="F26B43"/>
          </p15:clr>
        </p15:guide>
        <p15:guide id="8" orient="horz" pos="516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A3BE75-2B9F-4D02-861F-54602252F3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37743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A3BE75-2B9F-4D02-861F-54602252F3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2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2945" y="4826227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2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C9EC78-C7E5-4475-9114-DF3CE06903B2}"/>
              </a:ext>
            </a:extLst>
          </p:cNvPr>
          <p:cNvSpPr txBox="1"/>
          <p:nvPr userDrawn="1"/>
        </p:nvSpPr>
        <p:spPr>
          <a:xfrm>
            <a:off x="3910266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3482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</p:sldLayoutIdLst>
  <p:hf sldNum="0" hdr="0" ftr="0" dt="0"/>
  <p:txStyles>
    <p:titleStyle>
      <a:lvl1pPr algn="l" defTabSz="914378" rtl="0" eaLnBrk="1" latinLnBrk="0" hangingPunct="1">
        <a:spcBef>
          <a:spcPct val="0"/>
        </a:spcBef>
        <a:buNone/>
        <a:defRPr sz="1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336" userDrawn="1">
          <p15:clr>
            <a:srgbClr val="F26B43"/>
          </p15:clr>
        </p15:guide>
        <p15:guide id="6" pos="5472" userDrawn="1">
          <p15:clr>
            <a:srgbClr val="F26B43"/>
          </p15:clr>
        </p15:guide>
        <p15:guide id="7" orient="horz" pos="2532" userDrawn="1">
          <p15:clr>
            <a:srgbClr val="F26B43"/>
          </p15:clr>
        </p15:guide>
        <p15:guide id="8" orient="horz" pos="516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F2C3C4-BFDA-430E-BA57-4365DCBDAA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36929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F2C3C4-BFDA-430E-BA57-4365DCBDAA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2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9357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</p:sldLayoutIdLst>
  <p:hf sldNum="0" hdr="0" ftr="0" dt="0"/>
  <p:txStyles>
    <p:titleStyle>
      <a:lvl1pPr algn="l" defTabSz="914378" rtl="0" eaLnBrk="1" latinLnBrk="0" hangingPunct="1">
        <a:spcBef>
          <a:spcPct val="0"/>
        </a:spcBef>
        <a:buNone/>
        <a:defRPr sz="1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336" userDrawn="1">
          <p15:clr>
            <a:srgbClr val="F26B43"/>
          </p15:clr>
        </p15:guide>
        <p15:guide id="6" pos="5472" userDrawn="1">
          <p15:clr>
            <a:srgbClr val="F26B43"/>
          </p15:clr>
        </p15:guide>
        <p15:guide id="7" orient="horz" pos="2532" userDrawn="1">
          <p15:clr>
            <a:srgbClr val="F26B43"/>
          </p15:clr>
        </p15:guide>
        <p15:guide id="8" orient="horz" pos="516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190179-2CBC-4B8A-8238-38F9ACC5F3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71159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190179-2CBC-4B8A-8238-38F9ACC5F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1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357E4D-5494-4F2B-B441-FAB0C9844AC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31" y="4648241"/>
            <a:ext cx="1074269" cy="355971"/>
          </a:xfrm>
          <a:prstGeom prst="rect">
            <a:avLst/>
          </a:prstGeom>
        </p:spPr>
      </p:pic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2945" y="4826226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2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C9EC78-C7E5-4475-9114-DF3CE06903B2}"/>
              </a:ext>
            </a:extLst>
          </p:cNvPr>
          <p:cNvSpPr txBox="1"/>
          <p:nvPr userDrawn="1"/>
        </p:nvSpPr>
        <p:spPr>
          <a:xfrm>
            <a:off x="3910265" y="4948774"/>
            <a:ext cx="11971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/>
              <a:t>Eaton Internal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7967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62" r:id="rId2"/>
    <p:sldLayoutId id="2147483866" r:id="rId3"/>
    <p:sldLayoutId id="2147483879" r:id="rId4"/>
    <p:sldLayoutId id="2147484039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>
          <p15:clr>
            <a:srgbClr val="F26B43"/>
          </p15:clr>
        </p15:guide>
        <p15:guide id="2" pos="2880">
          <p15:clr>
            <a:srgbClr val="F26B43"/>
          </p15:clr>
        </p15:guide>
        <p15:guide id="4" pos="288">
          <p15:clr>
            <a:srgbClr val="F26B43"/>
          </p15:clr>
        </p15:guide>
        <p15:guide id="5" pos="336">
          <p15:clr>
            <a:srgbClr val="F26B43"/>
          </p15:clr>
        </p15:guide>
        <p15:guide id="6" pos="5472">
          <p15:clr>
            <a:srgbClr val="F26B43"/>
          </p15:clr>
        </p15:guide>
        <p15:guide id="7" orient="horz" pos="2532">
          <p15:clr>
            <a:srgbClr val="F26B43"/>
          </p15:clr>
        </p15:guide>
        <p15:guide id="8" orient="horz" pos="51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EBBCF3-B4FE-4B49-BE98-80C50236B7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152793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Slide" r:id="rId21" imgW="353" imgH="353" progId="TCLayout.ActiveDocument.1">
                  <p:embed/>
                </p:oleObj>
              </mc:Choice>
              <mc:Fallback>
                <p:oleObj name="think-cell Slide" r:id="rId21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EBBCF3-B4FE-4B49-BE98-80C50236B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6EE28DF1-A8E1-4221-8A79-27DD525A65D7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00" y="4498375"/>
            <a:ext cx="1341954" cy="62745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531" y="819150"/>
            <a:ext cx="8220269" cy="365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F2A62CB-A42E-470E-A301-EA6420987B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Box 36">
            <a:extLst>
              <a:ext uri="{FF2B5EF4-FFF2-40B4-BE49-F238E27FC236}">
                <a16:creationId xmlns:a16="http://schemas.microsoft.com/office/drawing/2014/main" id="{B17824FF-F083-4DB1-AA08-70947C354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22945" y="4826226"/>
            <a:ext cx="15552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Char char="©"/>
              <a:defRPr/>
            </a:pPr>
            <a:r>
              <a:rPr lang="en-US" sz="700"/>
              <a:t> 2022 Eaton. All rights reserved.</a:t>
            </a:r>
            <a:r>
              <a:rPr lang="en-US" sz="70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91529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  <p:sldLayoutId id="2147484054" r:id="rId11"/>
    <p:sldLayoutId id="2147484055" r:id="rId12"/>
    <p:sldLayoutId id="2147484091" r:id="rId13"/>
    <p:sldLayoutId id="2147484092" r:id="rId14"/>
    <p:sldLayoutId id="2147484108" r:id="rId15"/>
    <p:sldLayoutId id="2147484109" r:id="rId16"/>
    <p:sldLayoutId id="2147484110" r:id="rId1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0">
          <p15:clr>
            <a:srgbClr val="F26B43"/>
          </p15:clr>
        </p15:guide>
        <p15:guide id="2" pos="2880">
          <p15:clr>
            <a:srgbClr val="F26B43"/>
          </p15:clr>
        </p15:guide>
        <p15:guide id="4" pos="288">
          <p15:clr>
            <a:srgbClr val="F26B43"/>
          </p15:clr>
        </p15:guide>
        <p15:guide id="5" pos="336">
          <p15:clr>
            <a:srgbClr val="F26B43"/>
          </p15:clr>
        </p15:guide>
        <p15:guide id="6" pos="5472">
          <p15:clr>
            <a:srgbClr val="F26B43"/>
          </p15:clr>
        </p15:guide>
        <p15:guide id="7" orient="horz" pos="2532">
          <p15:clr>
            <a:srgbClr val="F26B43"/>
          </p15:clr>
        </p15:guide>
        <p15:guide id="8" orient="horz" pos="5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20.png"/><Relationship Id="rId12" Type="http://schemas.openxmlformats.org/officeDocument/2006/relationships/image" Target="../media/image36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3.sv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tags" Target="../tags/tag17.xml"/><Relationship Id="rId16" Type="http://schemas.openxmlformats.org/officeDocument/2006/relationships/image" Target="../media/image33.sv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32.png"/><Relationship Id="rId10" Type="http://schemas.openxmlformats.org/officeDocument/2006/relationships/image" Target="../media/image27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6.png"/><Relationship Id="rId14" Type="http://schemas.openxmlformats.org/officeDocument/2006/relationships/image" Target="../media/image3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26" Type="http://schemas.openxmlformats.org/officeDocument/2006/relationships/image" Target="../media/image61.png"/><Relationship Id="rId39" Type="http://schemas.microsoft.com/office/2007/relationships/hdphoto" Target="../media/hdphoto1.wdp"/><Relationship Id="rId3" Type="http://schemas.openxmlformats.org/officeDocument/2006/relationships/image" Target="../media/image38.png"/><Relationship Id="rId21" Type="http://schemas.openxmlformats.org/officeDocument/2006/relationships/image" Target="../media/image56.png"/><Relationship Id="rId34" Type="http://schemas.openxmlformats.org/officeDocument/2006/relationships/image" Target="../media/image69.svg"/><Relationship Id="rId7" Type="http://schemas.openxmlformats.org/officeDocument/2006/relationships/image" Target="../media/image42.jpeg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5" Type="http://schemas.openxmlformats.org/officeDocument/2006/relationships/image" Target="../media/image60.png"/><Relationship Id="rId33" Type="http://schemas.openxmlformats.org/officeDocument/2006/relationships/image" Target="../media/image68.png"/><Relationship Id="rId38" Type="http://schemas.openxmlformats.org/officeDocument/2006/relationships/image" Target="../media/image73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29" Type="http://schemas.openxmlformats.org/officeDocument/2006/relationships/image" Target="../media/image64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24" Type="http://schemas.openxmlformats.org/officeDocument/2006/relationships/image" Target="../media/image59.png"/><Relationship Id="rId32" Type="http://schemas.openxmlformats.org/officeDocument/2006/relationships/image" Target="../media/image67.svg"/><Relationship Id="rId37" Type="http://schemas.openxmlformats.org/officeDocument/2006/relationships/image" Target="../media/image72.png"/><Relationship Id="rId5" Type="http://schemas.openxmlformats.org/officeDocument/2006/relationships/image" Target="../media/image40.png"/><Relationship Id="rId15" Type="http://schemas.openxmlformats.org/officeDocument/2006/relationships/image" Target="../media/image50.jpeg"/><Relationship Id="rId23" Type="http://schemas.openxmlformats.org/officeDocument/2006/relationships/image" Target="../media/image58.jpeg"/><Relationship Id="rId28" Type="http://schemas.openxmlformats.org/officeDocument/2006/relationships/image" Target="../media/image63.png"/><Relationship Id="rId36" Type="http://schemas.openxmlformats.org/officeDocument/2006/relationships/image" Target="../media/image71.svg"/><Relationship Id="rId10" Type="http://schemas.openxmlformats.org/officeDocument/2006/relationships/image" Target="../media/image45.png"/><Relationship Id="rId19" Type="http://schemas.openxmlformats.org/officeDocument/2006/relationships/image" Target="../media/image54.png"/><Relationship Id="rId31" Type="http://schemas.openxmlformats.org/officeDocument/2006/relationships/image" Target="../media/image66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gif"/><Relationship Id="rId22" Type="http://schemas.openxmlformats.org/officeDocument/2006/relationships/image" Target="../media/image57.png"/><Relationship Id="rId27" Type="http://schemas.openxmlformats.org/officeDocument/2006/relationships/image" Target="../media/image62.png"/><Relationship Id="rId30" Type="http://schemas.openxmlformats.org/officeDocument/2006/relationships/image" Target="../media/image65.png"/><Relationship Id="rId35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svg"/><Relationship Id="rId13" Type="http://schemas.openxmlformats.org/officeDocument/2006/relationships/image" Target="../media/image69.svg"/><Relationship Id="rId3" Type="http://schemas.openxmlformats.org/officeDocument/2006/relationships/image" Target="../media/image74.png"/><Relationship Id="rId7" Type="http://schemas.openxmlformats.org/officeDocument/2006/relationships/image" Target="../media/image71.svg"/><Relationship Id="rId12" Type="http://schemas.openxmlformats.org/officeDocument/2006/relationships/image" Target="../media/image81.png"/><Relationship Id="rId17" Type="http://schemas.openxmlformats.org/officeDocument/2006/relationships/image" Target="../media/image84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83.sv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76.png"/><Relationship Id="rId11" Type="http://schemas.openxmlformats.org/officeDocument/2006/relationships/image" Target="../media/image80.png"/><Relationship Id="rId5" Type="http://schemas.openxmlformats.org/officeDocument/2006/relationships/image" Target="../media/image44.png"/><Relationship Id="rId15" Type="http://schemas.openxmlformats.org/officeDocument/2006/relationships/image" Target="../media/image82.png"/><Relationship Id="rId10" Type="http://schemas.openxmlformats.org/officeDocument/2006/relationships/image" Target="../media/image79.svg"/><Relationship Id="rId4" Type="http://schemas.openxmlformats.org/officeDocument/2006/relationships/image" Target="../media/image75.svg"/><Relationship Id="rId9" Type="http://schemas.openxmlformats.org/officeDocument/2006/relationships/image" Target="../media/image78.png"/><Relationship Id="rId14" Type="http://schemas.openxmlformats.org/officeDocument/2006/relationships/image" Target="../media/image59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85.emf"/><Relationship Id="rId4" Type="http://schemas.openxmlformats.org/officeDocument/2006/relationships/package" Target="../embeddings/Microsoft_Excel_Worksheet.xlsx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help.sap.com/docs/SAP_S4HANA_ON-PREMISE/f132c385e0234fe68ae9ff35b2da178c/a004ec57a7b5bc12e10000000a4450e5.html?version=2021.002&amp;q=advanced%20atp" TargetMode="External"/><Relationship Id="rId7" Type="http://schemas.openxmlformats.org/officeDocument/2006/relationships/hyperlink" Target="https://help.sap.com/docs/SAP_ENABLE_NOW?locale=en-US&amp;state=PRODUCTION&amp;version=2211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9.xml"/><Relationship Id="rId6" Type="http://schemas.openxmlformats.org/officeDocument/2006/relationships/hyperlink" Target="https://help.sap.com/docs/SAP_S4HANA_ON-PREMISE/8308e6d301d54584a33cd04a9861bc52/5418de55938d1d22e10000000a44147b.html?version=2021.002" TargetMode="External"/><Relationship Id="rId5" Type="http://schemas.openxmlformats.org/officeDocument/2006/relationships/hyperlink" Target="https://help.sap.com/docs/SAP_S4HANA_ON-PREMISE/6b356c79dea443c4bbeeaf0865e04207/dd28bf545e91ee05e10000000a4450e5.html?q=%22Embedded%20Analytics%22" TargetMode="External"/><Relationship Id="rId4" Type="http://schemas.openxmlformats.org/officeDocument/2006/relationships/hyperlink" Target="https://help.sap.com/docs/SAP_S4HANA_ON-PREMISE/029944e4a3b74446a9099e8971c752b9/9fe6df57bea8133ce10000000a44147b.html?q=%22Production%20Planning%22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9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7.sv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5.svg"/><Relationship Id="rId9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3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person, hydrozoan&#10;&#10;Description automatically generated">
            <a:extLst>
              <a:ext uri="{FF2B5EF4-FFF2-40B4-BE49-F238E27FC236}">
                <a16:creationId xmlns:a16="http://schemas.microsoft.com/office/drawing/2014/main" id="{D9EBAC99-D251-446C-A280-185C72710C7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26"/>
          <a:stretch/>
        </p:blipFill>
        <p:spPr>
          <a:xfrm>
            <a:off x="1" y="0"/>
            <a:ext cx="9143999" cy="4507666"/>
          </a:xfrm>
          <a:prstGeom prst="rect">
            <a:avLst/>
          </a:prstGeom>
          <a:blipFill>
            <a:blip r:embed="rId3"/>
            <a:tile tx="0" ty="0" sx="100000" sy="100000" flip="none" algn="tl"/>
          </a:blipFill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4B1614A-AEE7-4AD5-92A8-0D33922E8221}"/>
              </a:ext>
            </a:extLst>
          </p:cNvPr>
          <p:cNvSpPr/>
          <p:nvPr/>
        </p:nvSpPr>
        <p:spPr>
          <a:xfrm>
            <a:off x="0" y="1555611"/>
            <a:ext cx="7006815" cy="25146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22F784-D37E-49FE-B511-373D1863E7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136" y="1862420"/>
            <a:ext cx="6324600" cy="990835"/>
          </a:xfrm>
        </p:spPr>
        <p:txBody>
          <a:bodyPr>
            <a:normAutofit fontScale="90000"/>
          </a:bodyPr>
          <a:lstStyle/>
          <a:p>
            <a:r>
              <a:rPr lang="en-US" sz="3600" dirty="0">
                <a:solidFill>
                  <a:srgbClr val="71B2C9"/>
                </a:solidFill>
              </a:rPr>
              <a:t>Project EAST &amp; EVOLUTION</a:t>
            </a:r>
            <a:br>
              <a:rPr lang="en-US" dirty="0"/>
            </a:br>
            <a:r>
              <a:rPr lang="en-US" sz="2700" dirty="0"/>
              <a:t>S4Transformation Overvie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785FE8-AF93-4297-9AEB-CE43BB3A7B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411" y="3059206"/>
            <a:ext cx="6703353" cy="88289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latin typeface="+mn-lt"/>
              </a:rPr>
              <a:t>SAP Solution Design &amp; Governance</a:t>
            </a:r>
          </a:p>
          <a:p>
            <a:r>
              <a:rPr lang="en-US" sz="2400" dirty="0">
                <a:solidFill>
                  <a:srgbClr val="FFFFFF"/>
                </a:solidFill>
                <a:latin typeface="+mn-lt"/>
                <a:cs typeface="Arial"/>
              </a:rPr>
              <a:t>March </a:t>
            </a:r>
            <a:r>
              <a:rPr lang="en-US" dirty="0">
                <a:solidFill>
                  <a:srgbClr val="FFFFFF"/>
                </a:solidFill>
                <a:latin typeface="+mn-lt"/>
                <a:cs typeface="Arial"/>
              </a:rPr>
              <a:t>16</a:t>
            </a:r>
            <a:r>
              <a:rPr lang="en-US" sz="2400" dirty="0">
                <a:solidFill>
                  <a:srgbClr val="FFFFFF"/>
                </a:solidFill>
                <a:latin typeface="+mn-lt"/>
                <a:cs typeface="Arial"/>
              </a:rPr>
              <a:t>, 2023</a:t>
            </a:r>
          </a:p>
        </p:txBody>
      </p:sp>
    </p:spTree>
    <p:extLst>
      <p:ext uri="{BB962C8B-B14F-4D97-AF65-F5344CB8AC3E}">
        <p14:creationId xmlns:p14="http://schemas.microsoft.com/office/powerpoint/2010/main" val="4770287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FA1827-7732-46B9-9722-6A2FCD6E0E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8FA1827-7732-46B9-9722-6A2FCD6E0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236A36-532C-4003-8BE2-5701049C8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15280"/>
            <a:ext cx="8686799" cy="627454"/>
          </a:xfrm>
        </p:spPr>
        <p:txBody>
          <a:bodyPr vert="horz">
            <a:noAutofit/>
          </a:bodyPr>
          <a:lstStyle/>
          <a:p>
            <a:pPr defTabSz="914355">
              <a:defRPr/>
            </a:pPr>
            <a:r>
              <a:rPr lang="en-US">
                <a:solidFill>
                  <a:srgbClr val="005EB8"/>
                </a:solidFill>
              </a:rPr>
              <a:t>The proposed solution establishes an MVP Global Template as the foundation, then adds operational capabilities and localization requirements as we rollou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734EA6-D3F4-C98D-0EED-69695EFBBF7B}"/>
              </a:ext>
            </a:extLst>
          </p:cNvPr>
          <p:cNvSpPr txBox="1"/>
          <p:nvPr/>
        </p:nvSpPr>
        <p:spPr>
          <a:xfrm>
            <a:off x="5111632" y="913628"/>
            <a:ext cx="3566160" cy="75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r>
              <a:rPr lang="en-US" sz="1100" b="1">
                <a:solidFill>
                  <a:srgbClr val="0071CB"/>
                </a:solidFill>
                <a:latin typeface="Arial" charset="0"/>
              </a:rPr>
              <a:t>Phase 2: Rollouts </a:t>
            </a:r>
            <a:r>
              <a:rPr lang="en-US" sz="1100" i="1">
                <a:solidFill>
                  <a:srgbClr val="0071CB"/>
                </a:solidFill>
                <a:latin typeface="Arial" charset="0"/>
              </a:rPr>
              <a:t>(Multiple releases)</a:t>
            </a:r>
            <a:endParaRPr lang="en-US" sz="900" i="1">
              <a:solidFill>
                <a:srgbClr val="FFFFFF">
                  <a:lumMod val="50000"/>
                </a:srgbClr>
              </a:solidFill>
              <a:latin typeface="Arial" charset="0"/>
            </a:endParaRPr>
          </a:p>
          <a:p>
            <a:pPr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r>
              <a:rPr lang="en-US" sz="900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Optimize the Global Template solution as we expand it to other sites including country specific statutory localizations and integrations to enterprise applicatio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6601DB1-D744-BD06-0D0F-4EE97E973B53}"/>
              </a:ext>
            </a:extLst>
          </p:cNvPr>
          <p:cNvCxnSpPr>
            <a:cxnSpLocks/>
          </p:cNvCxnSpPr>
          <p:nvPr/>
        </p:nvCxnSpPr>
        <p:spPr>
          <a:xfrm>
            <a:off x="5087884" y="872310"/>
            <a:ext cx="0" cy="3699170"/>
          </a:xfrm>
          <a:prstGeom prst="line">
            <a:avLst/>
          </a:prstGeom>
          <a:ln w="28575">
            <a:solidFill>
              <a:srgbClr val="0071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A56544-7EC3-7C55-998C-16E8D8946FB5}"/>
              </a:ext>
            </a:extLst>
          </p:cNvPr>
          <p:cNvCxnSpPr>
            <a:cxnSpLocks/>
          </p:cNvCxnSpPr>
          <p:nvPr/>
        </p:nvCxnSpPr>
        <p:spPr>
          <a:xfrm>
            <a:off x="5087883" y="875938"/>
            <a:ext cx="3474720" cy="0"/>
          </a:xfrm>
          <a:prstGeom prst="line">
            <a:avLst/>
          </a:prstGeom>
          <a:ln w="28575">
            <a:solidFill>
              <a:srgbClr val="0071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0E7C7B4-D0D3-05B4-4483-C7B0C692FD20}"/>
              </a:ext>
            </a:extLst>
          </p:cNvPr>
          <p:cNvSpPr txBox="1"/>
          <p:nvPr/>
        </p:nvSpPr>
        <p:spPr>
          <a:xfrm>
            <a:off x="5111632" y="1997572"/>
            <a:ext cx="3566160" cy="1706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69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 b="1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Capabilities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Non-ITAR CTD compliance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Statutory localization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ITD and MSD divisions integration</a:t>
            </a:r>
          </a:p>
          <a:p>
            <a:pPr marL="117469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 b="1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Outcomes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French instance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Consolidated global Aero processes – governed template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Localization and site deployments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Integrated supply chain 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Sustainment and benefits realizatio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3B92020-1B6A-BA9A-F7DC-E50DF2269708}"/>
              </a:ext>
            </a:extLst>
          </p:cNvPr>
          <p:cNvGrpSpPr/>
          <p:nvPr/>
        </p:nvGrpSpPr>
        <p:grpSpPr>
          <a:xfrm>
            <a:off x="5111634" y="1624611"/>
            <a:ext cx="3450971" cy="433882"/>
            <a:chOff x="5111632" y="1624610"/>
            <a:chExt cx="3450971" cy="43388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EF38A6D-6ADA-EBF1-2860-9D264F65BA6B}"/>
                </a:ext>
              </a:extLst>
            </p:cNvPr>
            <p:cNvSpPr/>
            <p:nvPr/>
          </p:nvSpPr>
          <p:spPr>
            <a:xfrm>
              <a:off x="5111632" y="1695789"/>
              <a:ext cx="3291840" cy="279286"/>
            </a:xfrm>
            <a:prstGeom prst="rect">
              <a:avLst/>
            </a:prstGeom>
            <a:solidFill>
              <a:srgbClr val="0071CB"/>
            </a:solidFill>
            <a:ln>
              <a:solidFill>
                <a:srgbClr val="0071C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5" fontAlgn="base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defRPr/>
              </a:pPr>
              <a:r>
                <a:rPr lang="en-US" sz="1050">
                  <a:solidFill>
                    <a:srgbClr val="FFFFFF"/>
                  </a:solidFill>
                  <a:latin typeface="Arial" panose="020B0604020202020204"/>
                </a:rPr>
                <a:t>Rollout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D55421A-34EB-42B6-29F7-A2E86DAFEEB7}"/>
                </a:ext>
              </a:extLst>
            </p:cNvPr>
            <p:cNvSpPr/>
            <p:nvPr/>
          </p:nvSpPr>
          <p:spPr>
            <a:xfrm>
              <a:off x="7655630" y="1624610"/>
              <a:ext cx="433882" cy="433882"/>
            </a:xfrm>
            <a:prstGeom prst="ellipse">
              <a:avLst/>
            </a:prstGeom>
            <a:solidFill>
              <a:srgbClr val="005092"/>
            </a:solidFill>
            <a:ln>
              <a:solidFill>
                <a:srgbClr val="0050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5" fontAlgn="base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6" name="Graphic 15" descr="Circles with arrows with solid fill">
              <a:extLst>
                <a:ext uri="{FF2B5EF4-FFF2-40B4-BE49-F238E27FC236}">
                  <a16:creationId xmlns:a16="http://schemas.microsoft.com/office/drawing/2014/main" id="{AE3C0533-5F85-3648-D090-6274D07B4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726535" y="1695515"/>
              <a:ext cx="292072" cy="292072"/>
            </a:xfrm>
            <a:prstGeom prst="rect">
              <a:avLst/>
            </a:prstGeom>
          </p:spPr>
        </p:pic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9CC336F-D26B-7B0A-B023-5E838FF81B8E}"/>
                </a:ext>
              </a:extLst>
            </p:cNvPr>
            <p:cNvSpPr/>
            <p:nvPr/>
          </p:nvSpPr>
          <p:spPr>
            <a:xfrm>
              <a:off x="8128721" y="1624610"/>
              <a:ext cx="433882" cy="433882"/>
            </a:xfrm>
            <a:prstGeom prst="ellipse">
              <a:avLst/>
            </a:prstGeom>
            <a:solidFill>
              <a:srgbClr val="005092"/>
            </a:solidFill>
            <a:ln>
              <a:solidFill>
                <a:srgbClr val="0050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5" fontAlgn="base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8" name="Graphic 17" descr="Chevron arrows with solid fill">
              <a:extLst>
                <a:ext uri="{FF2B5EF4-FFF2-40B4-BE49-F238E27FC236}">
                  <a16:creationId xmlns:a16="http://schemas.microsoft.com/office/drawing/2014/main" id="{68860083-A4AD-8146-DAEC-49BCD114D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8199626" y="1687547"/>
              <a:ext cx="292072" cy="292072"/>
            </a:xfrm>
            <a:prstGeom prst="rect">
              <a:avLst/>
            </a:prstGeom>
          </p:spPr>
        </p:pic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EF5F35C-7814-3B35-C137-0A2430DF036F}"/>
                </a:ext>
              </a:extLst>
            </p:cNvPr>
            <p:cNvSpPr/>
            <p:nvPr/>
          </p:nvSpPr>
          <p:spPr>
            <a:xfrm>
              <a:off x="7178755" y="1624610"/>
              <a:ext cx="433882" cy="433882"/>
            </a:xfrm>
            <a:prstGeom prst="ellipse">
              <a:avLst/>
            </a:prstGeom>
            <a:solidFill>
              <a:srgbClr val="005092"/>
            </a:solidFill>
            <a:ln>
              <a:solidFill>
                <a:srgbClr val="0050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5" fontAlgn="base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20" name="Graphic 19" descr="Bank outline">
              <a:extLst>
                <a:ext uri="{FF2B5EF4-FFF2-40B4-BE49-F238E27FC236}">
                  <a16:creationId xmlns:a16="http://schemas.microsoft.com/office/drawing/2014/main" id="{F2773AB6-9280-5FB6-5065-2A597F128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249392" y="1695247"/>
              <a:ext cx="292608" cy="292608"/>
            </a:xfrm>
            <a:prstGeom prst="rect">
              <a:avLst/>
            </a:prstGeom>
          </p:spPr>
        </p:pic>
      </p:grp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5138C910-F135-D4F8-1F41-2A7366A0FD54}"/>
              </a:ext>
            </a:extLst>
          </p:cNvPr>
          <p:cNvSpPr txBox="1">
            <a:spLocks/>
          </p:cNvSpPr>
          <p:nvPr/>
        </p:nvSpPr>
        <p:spPr>
          <a:xfrm>
            <a:off x="8151780" y="4767264"/>
            <a:ext cx="53502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5">
              <a:defRPr/>
            </a:pPr>
            <a:fld id="{3F2A62CB-A42E-470E-A301-EA6420987B38}" type="slidenum">
              <a:rPr lang="en-US" sz="1350">
                <a:solidFill>
                  <a:srgbClr val="5B6770"/>
                </a:solidFill>
              </a:rPr>
              <a:pPr defTabSz="914355">
                <a:defRPr/>
              </a:pPr>
              <a:t>10</a:t>
            </a:fld>
            <a:endParaRPr lang="en-US" sz="1350">
              <a:solidFill>
                <a:srgbClr val="5B677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4AC33F9-3E8F-C2FA-66E1-0DBCEFD4EB8E}"/>
              </a:ext>
            </a:extLst>
          </p:cNvPr>
          <p:cNvSpPr/>
          <p:nvPr/>
        </p:nvSpPr>
        <p:spPr>
          <a:xfrm>
            <a:off x="575048" y="1638566"/>
            <a:ext cx="3291840" cy="274872"/>
          </a:xfrm>
          <a:prstGeom prst="rect">
            <a:avLst/>
          </a:prstGeom>
          <a:solidFill>
            <a:srgbClr val="2B5181"/>
          </a:solidFill>
          <a:ln>
            <a:solidFill>
              <a:srgbClr val="2B51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r>
              <a:rPr lang="en-US" sz="1050">
                <a:solidFill>
                  <a:srgbClr val="FFFFFF"/>
                </a:solidFill>
                <a:latin typeface="Arial" panose="020B0604020202020204"/>
              </a:rPr>
              <a:t>Global Templa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0D6D1F7-E2ED-D004-6390-47E82D63CB5E}"/>
              </a:ext>
            </a:extLst>
          </p:cNvPr>
          <p:cNvSpPr txBox="1"/>
          <p:nvPr/>
        </p:nvSpPr>
        <p:spPr>
          <a:xfrm>
            <a:off x="575048" y="879480"/>
            <a:ext cx="3474720" cy="5990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r>
              <a:rPr lang="en-US" sz="1100" b="1">
                <a:solidFill>
                  <a:srgbClr val="71B2C9">
                    <a:lumMod val="50000"/>
                  </a:srgbClr>
                </a:solidFill>
                <a:latin typeface="Arial" charset="0"/>
              </a:rPr>
              <a:t>Phase 1: Global Template and Initial Release </a:t>
            </a:r>
          </a:p>
          <a:p>
            <a:pPr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r>
              <a:rPr lang="en-US" sz="900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Establish the global template foundation and pilot with one US DoD site to prove model and establish solution confidenc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B823DC6-6921-E20E-B929-3598211A6B40}"/>
              </a:ext>
            </a:extLst>
          </p:cNvPr>
          <p:cNvCxnSpPr>
            <a:cxnSpLocks/>
          </p:cNvCxnSpPr>
          <p:nvPr/>
        </p:nvCxnSpPr>
        <p:spPr>
          <a:xfrm>
            <a:off x="575049" y="872310"/>
            <a:ext cx="0" cy="3699170"/>
          </a:xfrm>
          <a:prstGeom prst="line">
            <a:avLst/>
          </a:prstGeom>
          <a:ln w="28575">
            <a:solidFill>
              <a:srgbClr val="2B51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CAECAC4-EAF7-1392-69AD-52CAFAEEF617}"/>
              </a:ext>
            </a:extLst>
          </p:cNvPr>
          <p:cNvSpPr txBox="1"/>
          <p:nvPr/>
        </p:nvSpPr>
        <p:spPr>
          <a:xfrm>
            <a:off x="575044" y="1897718"/>
            <a:ext cx="3528458" cy="2696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69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 b="1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Capabilities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ITAR compliance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Order and Credit management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Global trade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Finance and Tax integration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Intercompany purchasing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Procurement, Warehouse management, and Logistics 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Operations and Engineering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Contract flow down and Program management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Aftermarket and Repairs</a:t>
            </a:r>
          </a:p>
          <a:p>
            <a:pPr marL="117469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 b="1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Outcomes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US &amp; Rest of the World instance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Consolidated US Aero processes – governed Template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US site with US DoD Military contracts 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Simplified users experience </a:t>
            </a:r>
          </a:p>
          <a:p>
            <a:pPr marL="287324" lvl="1" indent="-117469" defTabSz="914355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Font typeface="Arial" panose="020B0604020202020204" pitchFamily="34" charset="0"/>
              <a:buChar char="•"/>
              <a:defRPr/>
            </a:pPr>
            <a:r>
              <a:rPr lang="en-US" sz="825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Detailed plant and program profitability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79BDDF-ECF9-A416-A464-AC508A6D57C0}"/>
              </a:ext>
            </a:extLst>
          </p:cNvPr>
          <p:cNvCxnSpPr>
            <a:cxnSpLocks/>
          </p:cNvCxnSpPr>
          <p:nvPr/>
        </p:nvCxnSpPr>
        <p:spPr>
          <a:xfrm>
            <a:off x="575045" y="872309"/>
            <a:ext cx="3474720" cy="0"/>
          </a:xfrm>
          <a:prstGeom prst="line">
            <a:avLst/>
          </a:prstGeom>
          <a:ln w="28575">
            <a:solidFill>
              <a:srgbClr val="2B51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718ECF2-7439-A375-9316-1C419F60DDE2}"/>
              </a:ext>
            </a:extLst>
          </p:cNvPr>
          <p:cNvGrpSpPr/>
          <p:nvPr/>
        </p:nvGrpSpPr>
        <p:grpSpPr>
          <a:xfrm>
            <a:off x="3658224" y="1579647"/>
            <a:ext cx="433882" cy="433882"/>
            <a:chOff x="2740274" y="1682478"/>
            <a:chExt cx="433882" cy="43388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BE481430-87CE-AFC6-208F-27B14A201A63}"/>
                </a:ext>
              </a:extLst>
            </p:cNvPr>
            <p:cNvSpPr/>
            <p:nvPr/>
          </p:nvSpPr>
          <p:spPr>
            <a:xfrm>
              <a:off x="2740274" y="1682478"/>
              <a:ext cx="433882" cy="433882"/>
            </a:xfrm>
            <a:prstGeom prst="ellipse">
              <a:avLst/>
            </a:prstGeom>
            <a:solidFill>
              <a:srgbClr val="132439"/>
            </a:solidFill>
            <a:ln>
              <a:solidFill>
                <a:srgbClr val="1324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5" fontAlgn="base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30" name="Graphic 29" descr="Circles with arrows with solid fill">
              <a:extLst>
                <a:ext uri="{FF2B5EF4-FFF2-40B4-BE49-F238E27FC236}">
                  <a16:creationId xmlns:a16="http://schemas.microsoft.com/office/drawing/2014/main" id="{9E08FEBE-1B5A-F621-6175-66D962560C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805401" y="1753383"/>
              <a:ext cx="292072" cy="292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2510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6A97A12A-F368-4899-A969-7CDB16DD1F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6A97A12A-F368-4899-A969-7CDB16DD1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D01F78-913F-4AF7-AAD0-652490640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0335"/>
            <a:ext cx="8229600" cy="627454"/>
          </a:xfrm>
        </p:spPr>
        <p:txBody>
          <a:bodyPr vert="horz">
            <a:noAutofit/>
          </a:bodyPr>
          <a:lstStyle/>
          <a:p>
            <a:r>
              <a:rPr lang="en-US"/>
              <a:t>Imagine Phase – At a Gla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941005-7B73-4270-847F-62DB63791B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11</a:t>
            </a:fld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408F8EB-AC1E-47A3-AD14-6BB58E5B0006}"/>
              </a:ext>
            </a:extLst>
          </p:cNvPr>
          <p:cNvCxnSpPr>
            <a:cxnSpLocks/>
          </p:cNvCxnSpPr>
          <p:nvPr/>
        </p:nvCxnSpPr>
        <p:spPr>
          <a:xfrm>
            <a:off x="3658756" y="898312"/>
            <a:ext cx="0" cy="3669677"/>
          </a:xfrm>
          <a:prstGeom prst="line">
            <a:avLst/>
          </a:prstGeom>
          <a:noFill/>
          <a:ln w="6350" cap="flat" cmpd="sng" algn="ctr">
            <a:solidFill>
              <a:srgbClr val="667C82"/>
            </a:solidFill>
            <a:prstDash val="solid"/>
            <a:miter lim="800000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9B18302-741D-4464-94A8-27D597061C62}"/>
              </a:ext>
            </a:extLst>
          </p:cNvPr>
          <p:cNvCxnSpPr>
            <a:cxnSpLocks/>
          </p:cNvCxnSpPr>
          <p:nvPr/>
        </p:nvCxnSpPr>
        <p:spPr>
          <a:xfrm>
            <a:off x="429285" y="1099976"/>
            <a:ext cx="2983303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1AC46A2-7922-4C99-9A59-A4A1B71FBE37}"/>
              </a:ext>
            </a:extLst>
          </p:cNvPr>
          <p:cNvSpPr txBox="1"/>
          <p:nvPr/>
        </p:nvSpPr>
        <p:spPr>
          <a:xfrm>
            <a:off x="394875" y="754497"/>
            <a:ext cx="301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66">
              <a:defRPr/>
            </a:pPr>
            <a:r>
              <a:rPr lang="en-US" sz="1400" b="1" kern="0"/>
              <a:t>Consolidated Summar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83EEA6-FEFE-4AE5-A772-8FD3366FBD20}"/>
              </a:ext>
            </a:extLst>
          </p:cNvPr>
          <p:cNvSpPr txBox="1"/>
          <p:nvPr/>
        </p:nvSpPr>
        <p:spPr>
          <a:xfrm>
            <a:off x="4289226" y="754497"/>
            <a:ext cx="46954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66">
              <a:defRPr/>
            </a:pPr>
            <a:r>
              <a:rPr lang="en-US" sz="1400" b="1" kern="0"/>
              <a:t>Process Design Elemen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F60512-A824-4F81-82D7-62C95CB63D21}"/>
              </a:ext>
            </a:extLst>
          </p:cNvPr>
          <p:cNvSpPr txBox="1"/>
          <p:nvPr/>
        </p:nvSpPr>
        <p:spPr>
          <a:xfrm>
            <a:off x="4289224" y="1365373"/>
            <a:ext cx="4695446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50"/>
          </a:p>
          <a:p>
            <a:r>
              <a:rPr lang="en-US" sz="1050" b="1"/>
              <a:t>Key Design Decision (KDD) </a:t>
            </a:r>
            <a:r>
              <a:rPr lang="en-US" sz="1050"/>
              <a:t>– </a:t>
            </a:r>
            <a:r>
              <a:rPr lang="en-US" sz="1050" b="1" kern="0"/>
              <a:t> </a:t>
            </a:r>
            <a:r>
              <a:rPr lang="en-US" sz="1050" kern="0"/>
              <a:t>is an escalated design decision due to impacts on another workstream, project, or significant organizational change</a:t>
            </a:r>
          </a:p>
          <a:p>
            <a:endParaRPr lang="en-US" sz="1050"/>
          </a:p>
          <a:p>
            <a:r>
              <a:rPr lang="en-US" sz="1050" b="1"/>
              <a:t>Requirements Disposition </a:t>
            </a:r>
            <a:r>
              <a:rPr lang="en-US" sz="1050"/>
              <a:t>– is a categorization of requirements collected through the workshops to confirm whether they are a fit (met by standard S4HANA and industry best practice) or gap (require customization or process change) along with whether they should be included in the scope</a:t>
            </a:r>
          </a:p>
          <a:p>
            <a:endParaRPr lang="en-US" sz="1050"/>
          </a:p>
          <a:p>
            <a:r>
              <a:rPr lang="en-US" sz="1050" b="1"/>
              <a:t>Change Impacts </a:t>
            </a:r>
            <a:r>
              <a:rPr lang="en-US" sz="1050"/>
              <a:t>- describe what is changing between the current state and future state across people, process, and technology dimensions</a:t>
            </a:r>
          </a:p>
          <a:p>
            <a:endParaRPr lang="en-US" sz="1050"/>
          </a:p>
          <a:p>
            <a:r>
              <a:rPr lang="en-US" sz="1050" b="1"/>
              <a:t>Process flows </a:t>
            </a:r>
            <a:r>
              <a:rPr lang="en-US" sz="1050"/>
              <a:t>– depict an end-to-end visualization of future-state business processes, sub-processes, and tasks </a:t>
            </a:r>
          </a:p>
          <a:p>
            <a:endParaRPr lang="en-US" sz="1050" b="1"/>
          </a:p>
          <a:p>
            <a:r>
              <a:rPr lang="en-US" sz="1050" b="1"/>
              <a:t>User Story </a:t>
            </a:r>
            <a:r>
              <a:rPr lang="en-US" sz="1050"/>
              <a:t>– translates requirements into individual components that team members will design, build, and test during the deliver phase</a:t>
            </a:r>
          </a:p>
        </p:txBody>
      </p:sp>
      <p:pic>
        <p:nvPicPr>
          <p:cNvPr id="7" name="Graphic 6" descr="Old Key with solid fill">
            <a:extLst>
              <a:ext uri="{FF2B5EF4-FFF2-40B4-BE49-F238E27FC236}">
                <a16:creationId xmlns:a16="http://schemas.microsoft.com/office/drawing/2014/main" id="{500050F3-6EFC-46B9-82CB-76EFB44275E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72032" y="1572581"/>
            <a:ext cx="365760" cy="365760"/>
          </a:xfrm>
          <a:prstGeom prst="rect">
            <a:avLst/>
          </a:prstGeom>
        </p:spPr>
      </p:pic>
      <p:pic>
        <p:nvPicPr>
          <p:cNvPr id="9" name="Graphic 8" descr="Checklist outline">
            <a:extLst>
              <a:ext uri="{FF2B5EF4-FFF2-40B4-BE49-F238E27FC236}">
                <a16:creationId xmlns:a16="http://schemas.microsoft.com/office/drawing/2014/main" id="{A71ADAEA-92ED-4557-BCF3-B4763AF412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15459" y="2146883"/>
            <a:ext cx="457149" cy="414654"/>
          </a:xfrm>
          <a:prstGeom prst="rect">
            <a:avLst/>
          </a:prstGeom>
        </p:spPr>
      </p:pic>
      <p:pic>
        <p:nvPicPr>
          <p:cNvPr id="11" name="Graphic 10" descr="Open book outline">
            <a:extLst>
              <a:ext uri="{FF2B5EF4-FFF2-40B4-BE49-F238E27FC236}">
                <a16:creationId xmlns:a16="http://schemas.microsoft.com/office/drawing/2014/main" id="{CD3F23C7-C84B-40D6-BBFF-181574DC217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794535" y="2835966"/>
            <a:ext cx="497038" cy="497038"/>
          </a:xfrm>
          <a:prstGeom prst="rect">
            <a:avLst/>
          </a:prstGeom>
        </p:spPr>
      </p:pic>
      <p:pic>
        <p:nvPicPr>
          <p:cNvPr id="13" name="Graphic 12" descr="Workflow outline">
            <a:extLst>
              <a:ext uri="{FF2B5EF4-FFF2-40B4-BE49-F238E27FC236}">
                <a16:creationId xmlns:a16="http://schemas.microsoft.com/office/drawing/2014/main" id="{51573674-D7F1-405F-AD58-5F572F2500E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15432" y="3449925"/>
            <a:ext cx="457200" cy="457200"/>
          </a:xfrm>
          <a:prstGeom prst="rect">
            <a:avLst/>
          </a:prstGeom>
        </p:spPr>
      </p:pic>
      <p:pic>
        <p:nvPicPr>
          <p:cNvPr id="15" name="Graphic 14" descr="Ui Ux with solid fill">
            <a:extLst>
              <a:ext uri="{FF2B5EF4-FFF2-40B4-BE49-F238E27FC236}">
                <a16:creationId xmlns:a16="http://schemas.microsoft.com/office/drawing/2014/main" id="{517BDBC0-E327-4BA7-AE36-1EB0C90DBF2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54673" y="3964205"/>
            <a:ext cx="377851" cy="377851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03B03D-3D7B-4A2C-A8B8-6298E767C3AF}"/>
              </a:ext>
            </a:extLst>
          </p:cNvPr>
          <p:cNvCxnSpPr>
            <a:cxnSpLocks/>
          </p:cNvCxnSpPr>
          <p:nvPr/>
        </p:nvCxnSpPr>
        <p:spPr>
          <a:xfrm>
            <a:off x="4377830" y="1105443"/>
            <a:ext cx="4509863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A4E3292-93D2-D933-B213-50785697B50C}"/>
              </a:ext>
            </a:extLst>
          </p:cNvPr>
          <p:cNvGrpSpPr/>
          <p:nvPr/>
        </p:nvGrpSpPr>
        <p:grpSpPr>
          <a:xfrm>
            <a:off x="101694" y="1244897"/>
            <a:ext cx="3459104" cy="3218691"/>
            <a:chOff x="2593736" y="1097193"/>
            <a:chExt cx="6725635" cy="5611535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3B5B5EA-1081-8B01-3AEE-638312447050}"/>
                </a:ext>
              </a:extLst>
            </p:cNvPr>
            <p:cNvGrpSpPr/>
            <p:nvPr/>
          </p:nvGrpSpPr>
          <p:grpSpPr>
            <a:xfrm>
              <a:off x="2593736" y="1097193"/>
              <a:ext cx="6725635" cy="5611535"/>
              <a:chOff x="2593736" y="1097193"/>
              <a:chExt cx="6725635" cy="5611535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6BB330DC-CBD9-B535-9A0B-226CE4D54D9C}"/>
                  </a:ext>
                </a:extLst>
              </p:cNvPr>
              <p:cNvGrpSpPr/>
              <p:nvPr/>
            </p:nvGrpSpPr>
            <p:grpSpPr>
              <a:xfrm>
                <a:off x="2593736" y="1097193"/>
                <a:ext cx="6725635" cy="5611526"/>
                <a:chOff x="7972101" y="2694347"/>
                <a:chExt cx="4118912" cy="3647445"/>
              </a:xfrm>
            </p:grpSpPr>
            <p:grpSp>
              <p:nvGrpSpPr>
                <p:cNvPr id="6" name="Group 5">
                  <a:extLst>
                    <a:ext uri="{FF2B5EF4-FFF2-40B4-BE49-F238E27FC236}">
                      <a16:creationId xmlns:a16="http://schemas.microsoft.com/office/drawing/2014/main" id="{97AEC2D5-CE57-A260-F158-F74A06EC47B8}"/>
                    </a:ext>
                  </a:extLst>
                </p:cNvPr>
                <p:cNvGrpSpPr/>
                <p:nvPr/>
              </p:nvGrpSpPr>
              <p:grpSpPr>
                <a:xfrm>
                  <a:off x="7972101" y="2694347"/>
                  <a:ext cx="4118912" cy="3647445"/>
                  <a:chOff x="7994455" y="2694360"/>
                  <a:chExt cx="4016211" cy="1958445"/>
                </a:xfrm>
              </p:grpSpPr>
              <p:grpSp>
                <p:nvGrpSpPr>
                  <p:cNvPr id="12" name="Group 11">
                    <a:extLst>
                      <a:ext uri="{FF2B5EF4-FFF2-40B4-BE49-F238E27FC236}">
                        <a16:creationId xmlns:a16="http://schemas.microsoft.com/office/drawing/2014/main" id="{F55BFF15-F678-1D45-95E8-D779B25E0F09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7994455" y="2694360"/>
                    <a:ext cx="4016211" cy="1958445"/>
                    <a:chOff x="248301" y="1510113"/>
                    <a:chExt cx="5526905" cy="1775014"/>
                  </a:xfrm>
                </p:grpSpPr>
                <p:sp>
                  <p:nvSpPr>
                    <p:cNvPr id="29" name="Rectangle 28">
                      <a:extLst>
                        <a:ext uri="{FF2B5EF4-FFF2-40B4-BE49-F238E27FC236}">
                          <a16:creationId xmlns:a16="http://schemas.microsoft.com/office/drawing/2014/main" id="{31F76DB3-16B0-EA4D-D759-E2570653FA94}"/>
                        </a:ext>
                      </a:extLst>
                    </p:cNvPr>
                    <p:cNvSpPr/>
                    <p:nvPr/>
                  </p:nvSpPr>
                  <p:spPr bwMode="ltGray">
                    <a:xfrm>
                      <a:off x="1943294" y="2045653"/>
                      <a:ext cx="1610964" cy="700121"/>
                    </a:xfrm>
                    <a:prstGeom prst="rect">
                      <a:avLst/>
                    </a:prstGeom>
                    <a:solidFill>
                      <a:schemeClr val="accent6">
                        <a:lumMod val="60000"/>
                        <a:lumOff val="40000"/>
                      </a:schemeClr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117165" tIns="58582" rIns="144000" bIns="58582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defTabSz="1171679">
                        <a:spcBef>
                          <a:spcPct val="0"/>
                        </a:spcBef>
                        <a:defRPr/>
                      </a:pPr>
                      <a:endParaRPr lang="en-US" sz="825" kern="0">
                        <a:latin typeface="+mj-lt"/>
                        <a:cs typeface="Arial" pitchFamily="34" charset="0"/>
                      </a:endParaRPr>
                    </a:p>
                    <a:p>
                      <a:pPr defTabSz="1171679">
                        <a:spcBef>
                          <a:spcPct val="0"/>
                        </a:spcBef>
                        <a:defRPr/>
                      </a:pPr>
                      <a:endParaRPr lang="en-US" sz="825" kern="0">
                        <a:latin typeface="+mj-lt"/>
                        <a:cs typeface="Arial" pitchFamily="34" charset="0"/>
                      </a:endParaRPr>
                    </a:p>
                    <a:p>
                      <a:pPr defTabSz="1171679">
                        <a:spcBef>
                          <a:spcPct val="0"/>
                        </a:spcBef>
                        <a:defRPr/>
                      </a:pPr>
                      <a:r>
                        <a:rPr lang="en-US" sz="825" kern="0">
                          <a:latin typeface="+mj-lt"/>
                          <a:cs typeface="Arial" pitchFamily="34" charset="0"/>
                        </a:rPr>
                        <a:t>SMEs participated in the Imagine Phase</a:t>
                      </a:r>
                    </a:p>
                  </p:txBody>
                </p:sp>
                <p:sp>
                  <p:nvSpPr>
                    <p:cNvPr id="30" name="Rectangle 29">
                      <a:extLst>
                        <a:ext uri="{FF2B5EF4-FFF2-40B4-BE49-F238E27FC236}">
                          <a16:creationId xmlns:a16="http://schemas.microsoft.com/office/drawing/2014/main" id="{B17F3267-335B-2AFD-704A-C6D529E2B7F0}"/>
                        </a:ext>
                      </a:extLst>
                    </p:cNvPr>
                    <p:cNvSpPr/>
                    <p:nvPr/>
                  </p:nvSpPr>
                  <p:spPr bwMode="ltGray">
                    <a:xfrm>
                      <a:off x="3604916" y="1511623"/>
                      <a:ext cx="2170290" cy="656859"/>
                    </a:xfrm>
                    <a:prstGeom prst="rect">
                      <a:avLst/>
                    </a:prstGeom>
                    <a:solidFill>
                      <a:schemeClr val="accent1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117165" tIns="58582" rIns="117165" bIns="58582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defTabSz="1171679">
                        <a:spcBef>
                          <a:spcPct val="0"/>
                        </a:spcBef>
                        <a:defRPr/>
                      </a:pPr>
                      <a:endParaRPr lang="en-US" sz="900" b="1" kern="0">
                        <a:solidFill>
                          <a:prstClr val="white"/>
                        </a:solidFill>
                        <a:latin typeface="Verdana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31" name="Rectangle 30">
                      <a:extLst>
                        <a:ext uri="{FF2B5EF4-FFF2-40B4-BE49-F238E27FC236}">
                          <a16:creationId xmlns:a16="http://schemas.microsoft.com/office/drawing/2014/main" id="{4421888B-3A97-CB24-BEE3-B985C58B3080}"/>
                        </a:ext>
                      </a:extLst>
                    </p:cNvPr>
                    <p:cNvSpPr/>
                    <p:nvPr/>
                  </p:nvSpPr>
                  <p:spPr bwMode="ltGray">
                    <a:xfrm>
                      <a:off x="3594824" y="2185877"/>
                      <a:ext cx="2171313" cy="559897"/>
                    </a:xfrm>
                    <a:prstGeom prst="rect">
                      <a:avLst/>
                    </a:prstGeom>
                    <a:solidFill>
                      <a:schemeClr val="tx2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117165" tIns="58582" rIns="117165" bIns="58582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r" defTabSz="1171679">
                        <a:spcBef>
                          <a:spcPct val="0"/>
                        </a:spcBef>
                        <a:defRPr/>
                      </a:pPr>
                      <a:endParaRPr lang="en-US" sz="788" kern="0">
                        <a:solidFill>
                          <a:prstClr val="white"/>
                        </a:solidFill>
                        <a:latin typeface="Verdana"/>
                        <a:cs typeface="Arial" pitchFamily="34" charset="0"/>
                      </a:endParaRPr>
                    </a:p>
                    <a:p>
                      <a:pPr algn="ctr" defTabSz="1171679">
                        <a:spcBef>
                          <a:spcPct val="0"/>
                        </a:spcBef>
                        <a:defRPr/>
                      </a:pPr>
                      <a:endParaRPr lang="en-US" sz="788" kern="0">
                        <a:solidFill>
                          <a:prstClr val="white"/>
                        </a:solidFill>
                        <a:latin typeface="Verdana"/>
                        <a:cs typeface="Arial" pitchFamily="34" charset="0"/>
                      </a:endParaRPr>
                    </a:p>
                    <a:p>
                      <a:pPr algn="ctr" defTabSz="1171679">
                        <a:spcBef>
                          <a:spcPct val="0"/>
                        </a:spcBef>
                        <a:defRPr/>
                      </a:pPr>
                      <a:r>
                        <a:rPr lang="en-US" sz="788" kern="0">
                          <a:solidFill>
                            <a:prstClr val="whit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ps identified </a:t>
                      </a:r>
                    </a:p>
                  </p:txBody>
                </p:sp>
                <p:sp>
                  <p:nvSpPr>
                    <p:cNvPr id="32" name="Rectangle 31">
                      <a:extLst>
                        <a:ext uri="{FF2B5EF4-FFF2-40B4-BE49-F238E27FC236}">
                          <a16:creationId xmlns:a16="http://schemas.microsoft.com/office/drawing/2014/main" id="{76E1AE42-7AFE-95B4-0EFE-A6FFBF2349F5}"/>
                        </a:ext>
                      </a:extLst>
                    </p:cNvPr>
                    <p:cNvSpPr/>
                    <p:nvPr/>
                  </p:nvSpPr>
                  <p:spPr bwMode="ltGray">
                    <a:xfrm>
                      <a:off x="1943294" y="2757546"/>
                      <a:ext cx="3822843" cy="52758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117165" tIns="58582" rIns="117165" bIns="58582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r" defTabSz="1171679">
                        <a:spcBef>
                          <a:spcPct val="0"/>
                        </a:spcBef>
                        <a:defRPr/>
                      </a:pPr>
                      <a:endParaRPr lang="en-US" sz="788" b="1" kern="0">
                        <a:solidFill>
                          <a:prstClr val="white"/>
                        </a:solidFill>
                        <a:latin typeface="Verdana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33" name="Rectangle 32">
                      <a:extLst>
                        <a:ext uri="{FF2B5EF4-FFF2-40B4-BE49-F238E27FC236}">
                          <a16:creationId xmlns:a16="http://schemas.microsoft.com/office/drawing/2014/main" id="{C7BF6CB8-CE29-E208-9F18-226588AD7D25}"/>
                        </a:ext>
                      </a:extLst>
                    </p:cNvPr>
                    <p:cNvSpPr/>
                    <p:nvPr/>
                  </p:nvSpPr>
                  <p:spPr bwMode="ltGray">
                    <a:xfrm>
                      <a:off x="260878" y="1510113"/>
                      <a:ext cx="1631759" cy="686193"/>
                    </a:xfrm>
                    <a:prstGeom prst="rect">
                      <a:avLst/>
                    </a:prstGeom>
                    <a:solidFill>
                      <a:srgbClr val="ED7D31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117165" tIns="58582" rIns="117165" bIns="58582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defTabSz="1171679">
                        <a:spcBef>
                          <a:spcPct val="0"/>
                        </a:spcBef>
                        <a:defRPr/>
                      </a:pPr>
                      <a:endParaRPr lang="en-US" sz="825" kern="0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defTabSz="1171679">
                        <a:spcBef>
                          <a:spcPct val="0"/>
                        </a:spcBef>
                        <a:defRPr/>
                      </a:pPr>
                      <a:endParaRPr lang="en-US" sz="825" kern="0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defTabSz="1171679">
                        <a:spcBef>
                          <a:spcPct val="0"/>
                        </a:spcBef>
                        <a:defRPr/>
                      </a:pPr>
                      <a:endParaRPr lang="en-US" sz="825" kern="0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defTabSz="1171679">
                        <a:spcBef>
                          <a:spcPct val="0"/>
                        </a:spcBef>
                        <a:defRPr/>
                      </a:pPr>
                      <a:r>
                        <a:rPr lang="en-US" sz="825" kern="0">
                          <a:solidFill>
                            <a:prstClr val="whit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icipants in Imagine workshop sessions</a:t>
                      </a:r>
                    </a:p>
                  </p:txBody>
                </p:sp>
                <p:sp>
                  <p:nvSpPr>
                    <p:cNvPr id="34" name="Rectangle 33">
                      <a:extLst>
                        <a:ext uri="{FF2B5EF4-FFF2-40B4-BE49-F238E27FC236}">
                          <a16:creationId xmlns:a16="http://schemas.microsoft.com/office/drawing/2014/main" id="{C1530224-8D26-EF97-A77E-42C09BCCC991}"/>
                        </a:ext>
                      </a:extLst>
                    </p:cNvPr>
                    <p:cNvSpPr/>
                    <p:nvPr/>
                  </p:nvSpPr>
                  <p:spPr bwMode="ltGray">
                    <a:xfrm>
                      <a:off x="248301" y="2218193"/>
                      <a:ext cx="1631761" cy="527581"/>
                    </a:xfrm>
                    <a:prstGeom prst="rect">
                      <a:avLst/>
                    </a:prstGeom>
                    <a:solidFill>
                      <a:schemeClr val="accent3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117165" tIns="58582" rIns="117165" bIns="58582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1171679">
                        <a:spcBef>
                          <a:spcPct val="0"/>
                        </a:spcBef>
                        <a:defRPr/>
                      </a:pPr>
                      <a:r>
                        <a:rPr lang="en-US" sz="450" kern="0">
                          <a:solidFill>
                            <a:prstClr val="white"/>
                          </a:solidFill>
                          <a:latin typeface="Verdana"/>
                          <a:cs typeface="Arial" pitchFamily="34" charset="0"/>
                        </a:rPr>
                        <a:t> </a:t>
                      </a:r>
                    </a:p>
                    <a:p>
                      <a:pPr algn="ctr" defTabSz="1171679">
                        <a:spcBef>
                          <a:spcPct val="0"/>
                        </a:spcBef>
                        <a:defRPr/>
                      </a:pPr>
                      <a:endParaRPr lang="en-US" sz="450" kern="0">
                        <a:solidFill>
                          <a:prstClr val="white"/>
                        </a:solidFill>
                        <a:latin typeface="Verdana"/>
                        <a:cs typeface="Arial" pitchFamily="34" charset="0"/>
                      </a:endParaRPr>
                    </a:p>
                    <a:p>
                      <a:pPr marL="171446" indent="-171446" defTabSz="1171679">
                        <a:spcBef>
                          <a:spcPct val="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450" kern="0">
                        <a:solidFill>
                          <a:prstClr val="white"/>
                        </a:solidFill>
                        <a:latin typeface="Verdana"/>
                        <a:cs typeface="Arial" pitchFamily="34" charset="0"/>
                      </a:endParaRPr>
                    </a:p>
                    <a:p>
                      <a:pPr marL="171446" indent="-171446" defTabSz="1171679">
                        <a:spcBef>
                          <a:spcPct val="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450" kern="0">
                        <a:solidFill>
                          <a:prstClr val="white"/>
                        </a:solidFill>
                        <a:latin typeface="Verdana"/>
                        <a:cs typeface="Arial" pitchFamily="34" charset="0"/>
                      </a:endParaRPr>
                    </a:p>
                    <a:p>
                      <a:pPr marL="171446" indent="-171446" algn="ctr" defTabSz="1171679">
                        <a:spcBef>
                          <a:spcPct val="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450" kern="0">
                        <a:solidFill>
                          <a:prstClr val="white"/>
                        </a:solidFill>
                        <a:latin typeface="Verdana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35" name="Rectangle 34">
                      <a:extLst>
                        <a:ext uri="{FF2B5EF4-FFF2-40B4-BE49-F238E27FC236}">
                          <a16:creationId xmlns:a16="http://schemas.microsoft.com/office/drawing/2014/main" id="{44876038-51CA-32A0-A08A-1AF71EDC45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4919" y="1695692"/>
                      <a:ext cx="832408" cy="114568"/>
                    </a:xfrm>
                    <a:prstGeom prst="rect">
                      <a:avLst/>
                    </a:prstGeom>
                  </p:spPr>
                  <p:txBody>
                    <a:bodyPr wrap="none" lIns="0" tIns="0" rIns="0" bIns="0" anchor="t">
                      <a:spAutoFit/>
                    </a:bodyPr>
                    <a:lstStyle/>
                    <a:p>
                      <a:pPr defTabSz="1219139">
                        <a:defRPr/>
                      </a:pPr>
                      <a:r>
                        <a:rPr lang="en-US" sz="1350" b="1" kern="0">
                          <a:solidFill>
                            <a:schemeClr val="bg1"/>
                          </a:solidFill>
                          <a:latin typeface="Verdana"/>
                          <a:cs typeface="Arial"/>
                        </a:rPr>
                        <a:t>390+</a:t>
                      </a:r>
                      <a:endParaRPr lang="en-US" sz="1350" b="1" kern="0">
                        <a:solidFill>
                          <a:schemeClr val="bg1"/>
                        </a:solidFill>
                        <a:latin typeface="Verdana"/>
                        <a:ea typeface="Verdana"/>
                        <a:cs typeface="Arial"/>
                      </a:endParaRPr>
                    </a:p>
                  </p:txBody>
                </p:sp>
                <p:sp>
                  <p:nvSpPr>
                    <p:cNvPr id="36" name="Rectangle 35">
                      <a:extLst>
                        <a:ext uri="{FF2B5EF4-FFF2-40B4-BE49-F238E27FC236}">
                          <a16:creationId xmlns:a16="http://schemas.microsoft.com/office/drawing/2014/main" id="{EDB38FC0-1C10-5B2C-AA2B-08D9C13C91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39335" y="1714888"/>
                      <a:ext cx="1137196" cy="127297"/>
                    </a:xfrm>
                    <a:prstGeom prst="rect">
                      <a:avLst/>
                    </a:prstGeom>
                  </p:spPr>
                  <p:txBody>
                    <a:bodyPr wrap="none" lIns="0" tIns="0" rIns="0" bIns="0">
                      <a:spAutoFit/>
                    </a:bodyPr>
                    <a:lstStyle/>
                    <a:p>
                      <a:pPr defTabSz="1219139">
                        <a:defRPr/>
                      </a:pPr>
                      <a:r>
                        <a:rPr lang="en-US" sz="1500" b="1" kern="0">
                          <a:solidFill>
                            <a:schemeClr val="bg1"/>
                          </a:solidFill>
                          <a:latin typeface="Verdana"/>
                          <a:cs typeface="Arial" pitchFamily="34" charset="0"/>
                        </a:rPr>
                        <a:t>1900+</a:t>
                      </a:r>
                    </a:p>
                  </p:txBody>
                </p:sp>
                <p:sp>
                  <p:nvSpPr>
                    <p:cNvPr id="37" name="Rectangle 36">
                      <a:extLst>
                        <a:ext uri="{FF2B5EF4-FFF2-40B4-BE49-F238E27FC236}">
                          <a16:creationId xmlns:a16="http://schemas.microsoft.com/office/drawing/2014/main" id="{CBDB904F-2B6C-3CB6-8B33-8C8347BA1D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15441" y="2193748"/>
                      <a:ext cx="1511557" cy="127297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anchor="t">
                      <a:spAutoFit/>
                    </a:bodyPr>
                    <a:lstStyle/>
                    <a:p>
                      <a:pPr defTabSz="1219139">
                        <a:defRPr/>
                      </a:pPr>
                      <a:r>
                        <a:rPr lang="en-US" sz="1500" b="1" kern="0">
                          <a:solidFill>
                            <a:schemeClr val="bg1"/>
                          </a:solidFill>
                          <a:latin typeface="Verdana"/>
                          <a:ea typeface="Verdana"/>
                          <a:cs typeface="Arial"/>
                        </a:rPr>
                        <a:t>148+</a:t>
                      </a:r>
                    </a:p>
                  </p:txBody>
                </p:sp>
                <p:sp>
                  <p:nvSpPr>
                    <p:cNvPr id="38" name="Rectangle 37">
                      <a:extLst>
                        <a:ext uri="{FF2B5EF4-FFF2-40B4-BE49-F238E27FC236}">
                          <a16:creationId xmlns:a16="http://schemas.microsoft.com/office/drawing/2014/main" id="{FA8F664E-102D-F760-8E05-E4D8919B60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5012" y="2273753"/>
                      <a:ext cx="435412" cy="127297"/>
                    </a:xfrm>
                    <a:prstGeom prst="rect">
                      <a:avLst/>
                    </a:prstGeom>
                  </p:spPr>
                  <p:txBody>
                    <a:bodyPr wrap="none" lIns="0" tIns="0" rIns="0" bIns="0" anchor="t">
                      <a:spAutoFit/>
                    </a:bodyPr>
                    <a:lstStyle/>
                    <a:p>
                      <a:pPr defTabSz="1219139">
                        <a:defRPr/>
                      </a:pPr>
                      <a:r>
                        <a:rPr lang="en-US" sz="1500" b="1" kern="0">
                          <a:solidFill>
                            <a:schemeClr val="bg1"/>
                          </a:solidFill>
                          <a:latin typeface="Verdana"/>
                          <a:cs typeface="Arial"/>
                        </a:rPr>
                        <a:t>75</a:t>
                      </a:r>
                      <a:endParaRPr lang="en-US" sz="1500" b="1" kern="0">
                        <a:solidFill>
                          <a:schemeClr val="bg1"/>
                        </a:solidFill>
                        <a:latin typeface="Verdana"/>
                      </a:endParaRPr>
                    </a:p>
                  </p:txBody>
                </p:sp>
                <p:sp>
                  <p:nvSpPr>
                    <p:cNvPr id="39" name="Rectangle 38">
                      <a:extLst>
                        <a:ext uri="{FF2B5EF4-FFF2-40B4-BE49-F238E27FC236}">
                          <a16:creationId xmlns:a16="http://schemas.microsoft.com/office/drawing/2014/main" id="{3A3EB46D-5143-64A0-94F6-77B88120D6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31981" y="1829812"/>
                      <a:ext cx="1806309" cy="184652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 defTabSz="1171679">
                        <a:spcBef>
                          <a:spcPct val="0"/>
                        </a:spcBef>
                        <a:defRPr/>
                      </a:pPr>
                      <a:r>
                        <a:rPr lang="en-US" sz="788" b="1" kern="0">
                          <a:solidFill>
                            <a:prstClr val="whit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r stories have been drafted</a:t>
                      </a:r>
                    </a:p>
                  </p:txBody>
                </p:sp>
                <p:sp>
                  <p:nvSpPr>
                    <p:cNvPr id="40" name="Rectangle 39">
                      <a:extLst>
                        <a:ext uri="{FF2B5EF4-FFF2-40B4-BE49-F238E27FC236}">
                          <a16:creationId xmlns:a16="http://schemas.microsoft.com/office/drawing/2014/main" id="{147403CE-1A01-B436-24F1-5AE2E14599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66642" y="2943453"/>
                      <a:ext cx="1029624" cy="114568"/>
                    </a:xfrm>
                    <a:prstGeom prst="rect">
                      <a:avLst/>
                    </a:prstGeom>
                  </p:spPr>
                  <p:txBody>
                    <a:bodyPr wrap="none" lIns="0" tIns="0" rIns="0" bIns="0" anchor="t">
                      <a:spAutoFit/>
                    </a:bodyPr>
                    <a:lstStyle/>
                    <a:p>
                      <a:pPr defTabSz="1219139">
                        <a:defRPr/>
                      </a:pPr>
                      <a:r>
                        <a:rPr lang="en-US" sz="1350" b="1" kern="0">
                          <a:solidFill>
                            <a:schemeClr val="bg1"/>
                          </a:solidFill>
                          <a:latin typeface="Verdana"/>
                          <a:cs typeface="Arial"/>
                        </a:rPr>
                        <a:t>1800+</a:t>
                      </a:r>
                    </a:p>
                  </p:txBody>
                </p:sp>
                <p:sp>
                  <p:nvSpPr>
                    <p:cNvPr id="41" name="Rectangle 40">
                      <a:extLst>
                        <a:ext uri="{FF2B5EF4-FFF2-40B4-BE49-F238E27FC236}">
                          <a16:creationId xmlns:a16="http://schemas.microsoft.com/office/drawing/2014/main" id="{A134851D-3F88-234D-311D-7B7782F444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37828" y="2920626"/>
                      <a:ext cx="2370632" cy="190946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 defTabSz="1171679">
                        <a:spcBef>
                          <a:spcPct val="0"/>
                        </a:spcBef>
                        <a:defRPr/>
                      </a:pPr>
                      <a:r>
                        <a:rPr lang="en-US" sz="825" ker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quirements logged across all process teams</a:t>
                      </a:r>
                    </a:p>
                  </p:txBody>
                </p:sp>
              </p:grpSp>
              <p:sp>
                <p:nvSpPr>
                  <p:cNvPr id="14" name="Rectangle 13">
                    <a:extLst>
                      <a:ext uri="{FF2B5EF4-FFF2-40B4-BE49-F238E27FC236}">
                        <a16:creationId xmlns:a16="http://schemas.microsoft.com/office/drawing/2014/main" id="{DA793521-B882-3803-2C05-5A5C2D9C7F32}"/>
                      </a:ext>
                    </a:extLst>
                  </p:cNvPr>
                  <p:cNvSpPr/>
                  <p:nvPr/>
                </p:nvSpPr>
                <p:spPr>
                  <a:xfrm>
                    <a:off x="8045259" y="3664150"/>
                    <a:ext cx="1100376" cy="277511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 defTabSz="1219139">
                      <a:defRPr/>
                    </a:pPr>
                    <a:r>
                      <a:rPr lang="en-US" sz="788" kern="0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Workshops completed to date</a:t>
                    </a:r>
                  </a:p>
                </p:txBody>
              </p:sp>
              <p:sp>
                <p:nvSpPr>
                  <p:cNvPr id="24" name="Rectangle 23">
                    <a:extLst>
                      <a:ext uri="{FF2B5EF4-FFF2-40B4-BE49-F238E27FC236}">
                        <a16:creationId xmlns:a16="http://schemas.microsoft.com/office/drawing/2014/main" id="{516AE999-66D4-2D79-963F-F8DE2446E3F3}"/>
                      </a:ext>
                    </a:extLst>
                  </p:cNvPr>
                  <p:cNvSpPr/>
                  <p:nvPr/>
                </p:nvSpPr>
                <p:spPr>
                  <a:xfrm>
                    <a:off x="10411550" y="3663157"/>
                    <a:ext cx="1426958" cy="12640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defTabSz="1219139">
                      <a:defRPr/>
                    </a:pPr>
                    <a:endParaRPr lang="en-US" sz="750" kern="0">
                      <a:solidFill>
                        <a:prstClr val="white"/>
                      </a:solidFill>
                      <a:latin typeface="Verdana"/>
                      <a:cs typeface="Arial" pitchFamily="34" charset="0"/>
                    </a:endParaRPr>
                  </a:p>
                </p:txBody>
              </p:sp>
              <p:sp>
                <p:nvSpPr>
                  <p:cNvPr id="28" name="Rectangle 27">
                    <a:extLst>
                      <a:ext uri="{FF2B5EF4-FFF2-40B4-BE49-F238E27FC236}">
                        <a16:creationId xmlns:a16="http://schemas.microsoft.com/office/drawing/2014/main" id="{B73BD1EF-23E1-1B71-DCBF-5B60BABE5F7C}"/>
                      </a:ext>
                    </a:extLst>
                  </p:cNvPr>
                  <p:cNvSpPr/>
                  <p:nvPr/>
                </p:nvSpPr>
                <p:spPr>
                  <a:xfrm>
                    <a:off x="10805407" y="3643965"/>
                    <a:ext cx="429932" cy="126407"/>
                  </a:xfrm>
                  <a:prstGeom prst="rect">
                    <a:avLst/>
                  </a:prstGeom>
                </p:spPr>
                <p:txBody>
                  <a:bodyPr wrap="none" lIns="0" tIns="0" rIns="0" bIns="0">
                    <a:spAutoFit/>
                  </a:bodyPr>
                  <a:lstStyle/>
                  <a:p>
                    <a:pPr defTabSz="1219139">
                      <a:defRPr/>
                    </a:pPr>
                    <a:r>
                      <a:rPr lang="en-US" sz="1350" b="1" kern="0">
                        <a:solidFill>
                          <a:schemeClr val="bg1"/>
                        </a:solidFill>
                        <a:latin typeface="Verdana"/>
                        <a:cs typeface="Arial" pitchFamily="34" charset="0"/>
                      </a:rPr>
                      <a:t>364</a:t>
                    </a:r>
                  </a:p>
                </p:txBody>
              </p:sp>
            </p:grpSp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9487AA0A-6B7C-9EF4-E3CB-A050AC9B2835}"/>
                    </a:ext>
                  </a:extLst>
                </p:cNvPr>
                <p:cNvSpPr/>
                <p:nvPr/>
              </p:nvSpPr>
              <p:spPr bwMode="ltGray">
                <a:xfrm>
                  <a:off x="9234891" y="2694361"/>
                  <a:ext cx="1200567" cy="10477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117165" tIns="274320" rIns="144000" bIns="5858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171679">
                    <a:spcBef>
                      <a:spcPct val="0"/>
                    </a:spcBef>
                    <a:defRPr/>
                  </a:pPr>
                  <a:endParaRPr lang="en-US" sz="750" kern="0">
                    <a:solidFill>
                      <a:prstClr val="black"/>
                    </a:solidFill>
                    <a:latin typeface="Verdana"/>
                    <a:cs typeface="Arial" pitchFamily="34" charset="0"/>
                  </a:endParaRPr>
                </a:p>
                <a:p>
                  <a:pPr defTabSz="1171679">
                    <a:spcBef>
                      <a:spcPct val="0"/>
                    </a:spcBef>
                    <a:defRPr/>
                  </a:pPr>
                  <a:r>
                    <a:rPr lang="en-US" sz="750" kern="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Key Design Decisions logged</a:t>
                  </a: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FAE9B8B9-F8ED-76AE-D107-6DCFC54A8B56}"/>
                    </a:ext>
                  </a:extLst>
                </p:cNvPr>
                <p:cNvSpPr/>
                <p:nvPr/>
              </p:nvSpPr>
              <p:spPr>
                <a:xfrm>
                  <a:off x="9358950" y="3025891"/>
                  <a:ext cx="1137750" cy="261581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defTabSz="1219139">
                    <a:defRPr/>
                  </a:pPr>
                  <a:r>
                    <a:rPr lang="en-US" sz="1500" b="1" kern="0">
                      <a:solidFill>
                        <a:schemeClr val="bg1"/>
                      </a:solidFill>
                      <a:latin typeface="Verdana"/>
                      <a:cs typeface="Arial" pitchFamily="34" charset="0"/>
                    </a:rPr>
                    <a:t>500+</a:t>
                  </a:r>
                  <a:endParaRPr lang="en-US" sz="1500" b="1" kern="0">
                    <a:solidFill>
                      <a:schemeClr val="bg1"/>
                    </a:solidFill>
                    <a:latin typeface="Verdana"/>
                  </a:endParaRPr>
                </a:p>
              </p:txBody>
            </p:sp>
          </p:grp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210D426A-4BAA-2042-4DA1-E91BF77F4D94}"/>
                  </a:ext>
                </a:extLst>
              </p:cNvPr>
              <p:cNvSpPr/>
              <p:nvPr/>
            </p:nvSpPr>
            <p:spPr bwMode="ltGray">
              <a:xfrm>
                <a:off x="2600903" y="5040835"/>
                <a:ext cx="1971837" cy="1667893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117165" tIns="58582" rIns="117165" bIns="5858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171679">
                  <a:spcBef>
                    <a:spcPct val="0"/>
                  </a:spcBef>
                  <a:defRPr/>
                </a:pPr>
                <a:r>
                  <a:rPr lang="en-US" sz="450" kern="0">
                    <a:solidFill>
                      <a:prstClr val="white"/>
                    </a:solidFill>
                    <a:latin typeface="Verdana"/>
                    <a:cs typeface="Arial" pitchFamily="34" charset="0"/>
                  </a:rPr>
                  <a:t> </a:t>
                </a:r>
              </a:p>
              <a:p>
                <a:pPr algn="ctr" defTabSz="1171679">
                  <a:spcBef>
                    <a:spcPct val="0"/>
                  </a:spcBef>
                  <a:defRPr/>
                </a:pPr>
                <a:endParaRPr lang="en-US" sz="450" kern="0">
                  <a:solidFill>
                    <a:prstClr val="white"/>
                  </a:solidFill>
                  <a:latin typeface="Verdana"/>
                  <a:cs typeface="Arial" pitchFamily="34" charset="0"/>
                </a:endParaRPr>
              </a:p>
              <a:p>
                <a:pPr marL="171446" indent="-171446" defTabSz="1171679">
                  <a:spcBef>
                    <a:spcPct val="0"/>
                  </a:spcBef>
                  <a:buFont typeface="Arial" panose="020B0604020202020204" pitchFamily="34" charset="0"/>
                  <a:buChar char="•"/>
                  <a:defRPr/>
                </a:pPr>
                <a:endParaRPr lang="en-US" sz="450" kern="0">
                  <a:solidFill>
                    <a:prstClr val="white"/>
                  </a:solidFill>
                  <a:latin typeface="Verdana"/>
                  <a:cs typeface="Arial" pitchFamily="34" charset="0"/>
                </a:endParaRPr>
              </a:p>
              <a:p>
                <a:pPr marL="171446" indent="-171446" defTabSz="1171679">
                  <a:spcBef>
                    <a:spcPct val="0"/>
                  </a:spcBef>
                  <a:buFont typeface="Arial" panose="020B0604020202020204" pitchFamily="34" charset="0"/>
                  <a:buChar char="•"/>
                  <a:defRPr/>
                </a:pPr>
                <a:endParaRPr lang="en-US" sz="450" kern="0">
                  <a:solidFill>
                    <a:prstClr val="white"/>
                  </a:solidFill>
                  <a:latin typeface="Verdana"/>
                  <a:cs typeface="Arial" pitchFamily="34" charset="0"/>
                </a:endParaRPr>
              </a:p>
              <a:p>
                <a:pPr marL="171446" indent="-171446" algn="ctr" defTabSz="1171679">
                  <a:spcBef>
                    <a:spcPct val="0"/>
                  </a:spcBef>
                  <a:buFont typeface="Arial" panose="020B0604020202020204" pitchFamily="34" charset="0"/>
                  <a:buChar char="•"/>
                  <a:defRPr/>
                </a:pPr>
                <a:endParaRPr lang="en-US" sz="450" kern="0">
                  <a:solidFill>
                    <a:prstClr val="white"/>
                  </a:solidFill>
                  <a:latin typeface="Verdana"/>
                  <a:cs typeface="Arial" pitchFamily="34" charset="0"/>
                </a:endParaRPr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2F319AC-D033-E224-0D12-8737B5C1B94A}"/>
                </a:ext>
              </a:extLst>
            </p:cNvPr>
            <p:cNvSpPr/>
            <p:nvPr/>
          </p:nvSpPr>
          <p:spPr>
            <a:xfrm>
              <a:off x="2640581" y="5643940"/>
              <a:ext cx="2015124" cy="3723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219139"/>
              <a:r>
                <a:rPr lang="en-US" sz="788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2 Processes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F4497FA-7013-B5A0-D118-06FADDF7DF98}"/>
                </a:ext>
              </a:extLst>
            </p:cNvPr>
            <p:cNvSpPr/>
            <p:nvPr/>
          </p:nvSpPr>
          <p:spPr>
            <a:xfrm>
              <a:off x="3005006" y="5313067"/>
              <a:ext cx="1163632" cy="40243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219139">
                <a:defRPr/>
              </a:pPr>
              <a:r>
                <a:rPr lang="en-US" sz="1500" b="1" kern="0">
                  <a:solidFill>
                    <a:schemeClr val="bg1"/>
                  </a:solidFill>
                  <a:latin typeface="Verdana"/>
                  <a:cs typeface="Arial" pitchFamily="34" charset="0"/>
                </a:rPr>
                <a:t>120</a:t>
              </a:r>
              <a:r>
                <a:rPr lang="en-US" sz="1050" b="1" kern="0">
                  <a:solidFill>
                    <a:schemeClr val="bg1"/>
                  </a:solidFill>
                  <a:latin typeface="Verdana"/>
                  <a:cs typeface="Arial" pitchFamily="34" charset="0"/>
                </a:rPr>
                <a:t> </a:t>
              </a:r>
              <a:endParaRPr lang="en-US" sz="1050" b="1">
                <a:solidFill>
                  <a:schemeClr val="bg1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8098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>
            <a:extLst>
              <a:ext uri="{FF2B5EF4-FFF2-40B4-BE49-F238E27FC236}">
                <a16:creationId xmlns:a16="http://schemas.microsoft.com/office/drawing/2014/main" id="{D2081741-664C-469F-B999-30738C3493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80" name="Object 79" hidden="1">
                        <a:extLst>
                          <a:ext uri="{FF2B5EF4-FFF2-40B4-BE49-F238E27FC236}">
                            <a16:creationId xmlns:a16="http://schemas.microsoft.com/office/drawing/2014/main" id="{D2081741-664C-469F-B999-30738C349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B986FFF8-7322-4945-BD62-4B98B7C41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9564"/>
            <a:ext cx="8229600" cy="627454"/>
          </a:xfrm>
        </p:spPr>
        <p:txBody>
          <a:bodyPr vert="horz">
            <a:normAutofit/>
          </a:bodyPr>
          <a:lstStyle/>
          <a:p>
            <a:r>
              <a:rPr lang="en-US" sz="2000">
                <a:solidFill>
                  <a:srgbClr val="005EB8"/>
                </a:solidFill>
              </a:rPr>
              <a:t>Capability Segmentation Heatmap</a:t>
            </a:r>
            <a:endParaRPr lang="en-US" sz="200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7B298776-2DDB-4971-95BE-BDE7DACFE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0A5BC2-0902-4528-AAFB-0BB46662A622}"/>
              </a:ext>
            </a:extLst>
          </p:cNvPr>
          <p:cNvSpPr/>
          <p:nvPr/>
        </p:nvSpPr>
        <p:spPr>
          <a:xfrm>
            <a:off x="2554267" y="792595"/>
            <a:ext cx="2057400" cy="2057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>
              <a:defRPr/>
            </a:pPr>
            <a:r>
              <a:rPr lang="en-US" sz="800" b="1">
                <a:solidFill>
                  <a:srgbClr val="FFFFFF"/>
                </a:solidFill>
                <a:latin typeface="Arial" panose="020B0604020202020204"/>
              </a:rPr>
              <a:t>Finan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867FA1-483A-4321-9DB3-C62C618BBEC7}"/>
              </a:ext>
            </a:extLst>
          </p:cNvPr>
          <p:cNvSpPr/>
          <p:nvPr/>
        </p:nvSpPr>
        <p:spPr>
          <a:xfrm>
            <a:off x="6876995" y="797964"/>
            <a:ext cx="2057400" cy="2057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54">
              <a:defRPr/>
            </a:pPr>
            <a:r>
              <a:rPr lang="en-US" sz="788" b="1">
                <a:solidFill>
                  <a:srgbClr val="FFFFFF"/>
                </a:solidFill>
                <a:latin typeface="Arial" panose="020B0604020202020204"/>
              </a:rPr>
              <a:t>Plan to Produ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FD5D53-5E67-4B63-8688-79E522F1923D}"/>
              </a:ext>
            </a:extLst>
          </p:cNvPr>
          <p:cNvSpPr/>
          <p:nvPr/>
        </p:nvSpPr>
        <p:spPr>
          <a:xfrm>
            <a:off x="388558" y="795251"/>
            <a:ext cx="2057400" cy="2057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>
              <a:defRPr/>
            </a:pPr>
            <a:r>
              <a:rPr lang="en-US" sz="800" b="1">
                <a:solidFill>
                  <a:srgbClr val="FFFFFF"/>
                </a:solidFill>
                <a:latin typeface="Arial" panose="020B0604020202020204"/>
              </a:rPr>
              <a:t>Aftermark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C000ED-6AE8-46B7-8D09-5C33CED53DF0}"/>
              </a:ext>
            </a:extLst>
          </p:cNvPr>
          <p:cNvSpPr/>
          <p:nvPr/>
        </p:nvSpPr>
        <p:spPr>
          <a:xfrm>
            <a:off x="4707910" y="792807"/>
            <a:ext cx="2057400" cy="2057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>
              <a:defRPr/>
            </a:pPr>
            <a:r>
              <a:rPr lang="en-US" sz="800" b="1">
                <a:solidFill>
                  <a:srgbClr val="FFFFFF"/>
                </a:solidFill>
                <a:latin typeface="Arial" panose="020B0604020202020204"/>
              </a:rPr>
              <a:t>Program Managem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A6FA170-5989-4AA5-B0CB-C06FF804BDB8}"/>
              </a:ext>
            </a:extLst>
          </p:cNvPr>
          <p:cNvSpPr/>
          <p:nvPr/>
        </p:nvSpPr>
        <p:spPr>
          <a:xfrm>
            <a:off x="3988942" y="1047610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/>
            <a:r>
              <a:rPr lang="en-US" sz="500">
                <a:solidFill>
                  <a:schemeClr val="tx1"/>
                </a:solidFill>
              </a:rPr>
              <a:t>DC-030 Perform Clos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0300A5-948A-4F45-9C40-0C20E780AA41}"/>
              </a:ext>
            </a:extLst>
          </p:cNvPr>
          <p:cNvSpPr/>
          <p:nvPr/>
        </p:nvSpPr>
        <p:spPr>
          <a:xfrm>
            <a:off x="2553212" y="1501919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/>
            <a:r>
              <a:rPr lang="en-US" sz="500">
                <a:solidFill>
                  <a:schemeClr val="tx1"/>
                </a:solidFill>
              </a:rPr>
              <a:t>DC-040 Perform Fixed Asset Account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9E78AB7-5674-4D7C-B610-307855C578A1}"/>
              </a:ext>
            </a:extLst>
          </p:cNvPr>
          <p:cNvSpPr/>
          <p:nvPr/>
        </p:nvSpPr>
        <p:spPr>
          <a:xfrm>
            <a:off x="3274357" y="1047610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/>
            <a:r>
              <a:rPr lang="en-US" sz="500">
                <a:solidFill>
                  <a:schemeClr val="tx1"/>
                </a:solidFill>
              </a:rPr>
              <a:t>DC-020 Manage the General Ledg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EDB75B-CFAA-44A3-BF17-F801E2A80140}"/>
              </a:ext>
            </a:extLst>
          </p:cNvPr>
          <p:cNvSpPr/>
          <p:nvPr/>
        </p:nvSpPr>
        <p:spPr>
          <a:xfrm>
            <a:off x="2549377" y="1047610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/>
            <a:r>
              <a:rPr lang="en-US" sz="500">
                <a:solidFill>
                  <a:schemeClr val="tx1"/>
                </a:solidFill>
              </a:rPr>
              <a:t>DC-010 Perform Transactional Process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38D9AD4-1CC9-4D96-89B0-95200159EADF}"/>
              </a:ext>
            </a:extLst>
          </p:cNvPr>
          <p:cNvSpPr/>
          <p:nvPr/>
        </p:nvSpPr>
        <p:spPr>
          <a:xfrm>
            <a:off x="2552438" y="1956228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DC-080 Perform Fixed Asset Depreci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D1A39F6-BD19-41C5-9427-C06E0F17EDC3}"/>
              </a:ext>
            </a:extLst>
          </p:cNvPr>
          <p:cNvSpPr/>
          <p:nvPr/>
        </p:nvSpPr>
        <p:spPr>
          <a:xfrm>
            <a:off x="3270690" y="1956228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DC-090 Perform Fixed Asset Transfe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E034110-D0C8-41D9-B81D-AC328C674485}"/>
              </a:ext>
            </a:extLst>
          </p:cNvPr>
          <p:cNvSpPr/>
          <p:nvPr/>
        </p:nvSpPr>
        <p:spPr>
          <a:xfrm>
            <a:off x="2553212" y="2401647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DS-020 Support Product Cost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1B3B130-CF07-40FA-8EF5-959EC9625FA4}"/>
              </a:ext>
            </a:extLst>
          </p:cNvPr>
          <p:cNvSpPr/>
          <p:nvPr/>
        </p:nvSpPr>
        <p:spPr>
          <a:xfrm>
            <a:off x="3275015" y="2394441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DC-030 Support Customer Profitability Analysi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35B0DE7-0C29-4494-B167-889159579248}"/>
              </a:ext>
            </a:extLst>
          </p:cNvPr>
          <p:cNvSpPr/>
          <p:nvPr/>
        </p:nvSpPr>
        <p:spPr>
          <a:xfrm>
            <a:off x="1831172" y="2397202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190: Manage Recalls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FC37258-5651-441B-95B4-14AA51D33A67}"/>
              </a:ext>
            </a:extLst>
          </p:cNvPr>
          <p:cNvSpPr/>
          <p:nvPr/>
        </p:nvSpPr>
        <p:spPr>
          <a:xfrm>
            <a:off x="3992784" y="1953467"/>
            <a:ext cx="617220" cy="39370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DS-010 Perform Overhead Accountin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578F7F0-5C1C-486A-885D-4BAEA5DF8F69}"/>
              </a:ext>
            </a:extLst>
          </p:cNvPr>
          <p:cNvSpPr/>
          <p:nvPr/>
        </p:nvSpPr>
        <p:spPr>
          <a:xfrm>
            <a:off x="3988942" y="2394441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DC-040 Report &amp; Analyze Business Performanc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8E3157C-FB19-4F53-BB20-3EE56B4976FB}"/>
              </a:ext>
            </a:extLst>
          </p:cNvPr>
          <p:cNvSpPr/>
          <p:nvPr/>
        </p:nvSpPr>
        <p:spPr>
          <a:xfrm>
            <a:off x="1103217" y="1047610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040: Process Transactions and Inquiries</a:t>
            </a:r>
            <a:endParaRPr lang="en-US" sz="50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B0965E9-283A-4E2C-86A5-A3DC274FD482}"/>
              </a:ext>
            </a:extLst>
          </p:cNvPr>
          <p:cNvSpPr/>
          <p:nvPr/>
        </p:nvSpPr>
        <p:spPr>
          <a:xfrm>
            <a:off x="1825922" y="1047610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rgbClr val="000000"/>
                </a:solidFill>
                <a:ea typeface="Calibri"/>
                <a:cs typeface="Calibri"/>
              </a:rPr>
              <a:t>C-050: Evaluate Initial Service Call</a:t>
            </a:r>
            <a:endParaRPr lang="en-US" sz="500">
              <a:solidFill>
                <a:srgbClr val="000000"/>
              </a:solidFill>
              <a:cs typeface="Calibri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05D64F1-6055-492B-A716-CA0F6628382B}"/>
              </a:ext>
            </a:extLst>
          </p:cNvPr>
          <p:cNvSpPr/>
          <p:nvPr/>
        </p:nvSpPr>
        <p:spPr>
          <a:xfrm>
            <a:off x="385918" y="1047610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Calibri"/>
                <a:cs typeface="Calibri"/>
              </a:rPr>
              <a:t>C-010: Installed Base Management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A165B97-97EF-4E69-B576-0EB96B1BCD99}"/>
              </a:ext>
            </a:extLst>
          </p:cNvPr>
          <p:cNvSpPr/>
          <p:nvPr/>
        </p:nvSpPr>
        <p:spPr>
          <a:xfrm>
            <a:off x="1103217" y="149747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080: Perform Product Induction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4C36CCE-E139-4A98-BC96-82C21257279F}"/>
              </a:ext>
            </a:extLst>
          </p:cNvPr>
          <p:cNvSpPr/>
          <p:nvPr/>
        </p:nvSpPr>
        <p:spPr>
          <a:xfrm>
            <a:off x="1824526" y="149747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090: Plan Component Maintenance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A0514F-0C4E-4E5E-86E9-5A25E35BE023}"/>
              </a:ext>
            </a:extLst>
          </p:cNvPr>
          <p:cNvSpPr/>
          <p:nvPr/>
        </p:nvSpPr>
        <p:spPr>
          <a:xfrm>
            <a:off x="385918" y="149747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060: Execute Field Service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2B30657-80CD-462A-ABFD-5B392C625B22}"/>
              </a:ext>
            </a:extLst>
          </p:cNvPr>
          <p:cNvSpPr/>
          <p:nvPr/>
        </p:nvSpPr>
        <p:spPr>
          <a:xfrm>
            <a:off x="1103217" y="1947338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C-110: Execute External Non-Direct Repair (</a:t>
            </a:r>
            <a:r>
              <a:rPr lang="en-US" sz="500" err="1">
                <a:solidFill>
                  <a:schemeClr val="tx1"/>
                </a:solidFill>
              </a:rPr>
              <a:t>Subc</a:t>
            </a:r>
            <a:r>
              <a:rPr lang="en-US" sz="500">
                <a:solidFill>
                  <a:schemeClr val="tx1"/>
                </a:solidFill>
              </a:rPr>
              <a:t>)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494DC96-34F3-4232-9618-D2C57018F90B}"/>
              </a:ext>
            </a:extLst>
          </p:cNvPr>
          <p:cNvSpPr/>
          <p:nvPr/>
        </p:nvSpPr>
        <p:spPr>
          <a:xfrm>
            <a:off x="1827892" y="1947338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120: Exchanges and Loans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9378CFF-5F61-4B4A-9E4F-0FCAAD89241B}"/>
              </a:ext>
            </a:extLst>
          </p:cNvPr>
          <p:cNvSpPr/>
          <p:nvPr/>
        </p:nvSpPr>
        <p:spPr>
          <a:xfrm>
            <a:off x="1103217" y="2397202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150: Manage Warranties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09DC239-6CFE-4BAA-A9D1-4FDC78CF44B1}"/>
              </a:ext>
            </a:extLst>
          </p:cNvPr>
          <p:cNvSpPr/>
          <p:nvPr/>
        </p:nvSpPr>
        <p:spPr>
          <a:xfrm>
            <a:off x="385918" y="2397202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130: Execute Scrap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6E505E0-F806-4084-BAA6-0A28812F30BA}"/>
              </a:ext>
            </a:extLst>
          </p:cNvPr>
          <p:cNvSpPr/>
          <p:nvPr/>
        </p:nvSpPr>
        <p:spPr>
          <a:xfrm>
            <a:off x="5428000" y="1047610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MP-030 Develop Initial Project Pla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92C3C9B-FD69-448C-9F13-22197B40A09B}"/>
              </a:ext>
            </a:extLst>
          </p:cNvPr>
          <p:cNvSpPr/>
          <p:nvPr/>
        </p:nvSpPr>
        <p:spPr>
          <a:xfrm>
            <a:off x="6148090" y="1047610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MP-060 Develop Detailed Project Pla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04F3109-7B97-4D4F-A8E9-A3BF529F5ECB}"/>
              </a:ext>
            </a:extLst>
          </p:cNvPr>
          <p:cNvSpPr/>
          <p:nvPr/>
        </p:nvSpPr>
        <p:spPr>
          <a:xfrm>
            <a:off x="4713721" y="1047610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MP-020 Determine Projec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A25E688-7974-42BC-AC78-B3C9773515EB}"/>
              </a:ext>
            </a:extLst>
          </p:cNvPr>
          <p:cNvSpPr/>
          <p:nvPr/>
        </p:nvSpPr>
        <p:spPr>
          <a:xfrm>
            <a:off x="6224667" y="4608140"/>
            <a:ext cx="410360" cy="15472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endParaRPr lang="en-US" sz="50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0E735C0-32BA-4912-9BCC-3401FFE0BAB0}"/>
              </a:ext>
            </a:extLst>
          </p:cNvPr>
          <p:cNvSpPr txBox="1"/>
          <p:nvPr/>
        </p:nvSpPr>
        <p:spPr>
          <a:xfrm>
            <a:off x="6652618" y="4425318"/>
            <a:ext cx="12688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10">
              <a:defRPr/>
            </a:pPr>
            <a:r>
              <a:rPr lang="en-US" sz="700">
                <a:solidFill>
                  <a:srgbClr val="000000"/>
                </a:solidFill>
                <a:latin typeface="Arial" panose="020B0604020202020204"/>
              </a:rPr>
              <a:t>Strategic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8135A20-5ED5-49B9-AB5E-FAD3A5762524}"/>
              </a:ext>
            </a:extLst>
          </p:cNvPr>
          <p:cNvSpPr/>
          <p:nvPr/>
        </p:nvSpPr>
        <p:spPr>
          <a:xfrm>
            <a:off x="7337620" y="4438143"/>
            <a:ext cx="410976" cy="165918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endParaRPr lang="en-US" sz="50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E031E93-EEDF-49EB-A812-BA964DA98A83}"/>
              </a:ext>
            </a:extLst>
          </p:cNvPr>
          <p:cNvSpPr/>
          <p:nvPr/>
        </p:nvSpPr>
        <p:spPr>
          <a:xfrm>
            <a:off x="6224048" y="4420597"/>
            <a:ext cx="410976" cy="1659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endParaRPr lang="en-US" sz="5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3FDDB37-6BAC-48FD-B032-B38CA86AF4D9}"/>
              </a:ext>
            </a:extLst>
          </p:cNvPr>
          <p:cNvSpPr/>
          <p:nvPr/>
        </p:nvSpPr>
        <p:spPr>
          <a:xfrm>
            <a:off x="7337620" y="4623359"/>
            <a:ext cx="410976" cy="165918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endParaRPr lang="en-US" sz="500">
              <a:solidFill>
                <a:srgbClr val="2C3F88"/>
              </a:solidFill>
              <a:latin typeface="Arial" panose="020B0604020202020204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6E28A95-C5B3-469B-9486-1F8953E8D728}"/>
              </a:ext>
            </a:extLst>
          </p:cNvPr>
          <p:cNvSpPr txBox="1"/>
          <p:nvPr/>
        </p:nvSpPr>
        <p:spPr>
          <a:xfrm>
            <a:off x="6632119" y="4601205"/>
            <a:ext cx="154154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10">
              <a:defRPr/>
            </a:pPr>
            <a:r>
              <a:rPr lang="en-US" sz="700">
                <a:solidFill>
                  <a:srgbClr val="000000"/>
                </a:solidFill>
                <a:latin typeface="Arial" panose="020B0604020202020204"/>
              </a:rPr>
              <a:t>Foundational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17402B8-4364-4E5D-AAA4-51536962CF2B}"/>
              </a:ext>
            </a:extLst>
          </p:cNvPr>
          <p:cNvSpPr txBox="1"/>
          <p:nvPr/>
        </p:nvSpPr>
        <p:spPr>
          <a:xfrm>
            <a:off x="7745689" y="4625373"/>
            <a:ext cx="149541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10">
              <a:defRPr/>
            </a:pPr>
            <a:r>
              <a:rPr lang="en-US" sz="700">
                <a:solidFill>
                  <a:srgbClr val="000000"/>
                </a:solidFill>
                <a:latin typeface="Arial" panose="020B0604020202020204"/>
              </a:rPr>
              <a:t>Out of Scope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8B98979-9DF0-436F-8097-D4416679149E}"/>
              </a:ext>
            </a:extLst>
          </p:cNvPr>
          <p:cNvSpPr txBox="1"/>
          <p:nvPr/>
        </p:nvSpPr>
        <p:spPr>
          <a:xfrm>
            <a:off x="7766189" y="4424155"/>
            <a:ext cx="90181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10">
              <a:defRPr/>
            </a:pPr>
            <a:r>
              <a:rPr lang="en-US" sz="700">
                <a:solidFill>
                  <a:srgbClr val="000000"/>
                </a:solidFill>
                <a:latin typeface="Arial" panose="020B0604020202020204"/>
              </a:rPr>
              <a:t>Cor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9279FF6-26E6-45C5-B5B6-F88B011E75A1}"/>
              </a:ext>
            </a:extLst>
          </p:cNvPr>
          <p:cNvSpPr/>
          <p:nvPr/>
        </p:nvSpPr>
        <p:spPr>
          <a:xfrm>
            <a:off x="3274357" y="1501919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DC-050 Perform Project Accounting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6F95431-A16C-4E7F-8361-47D449473B80}"/>
              </a:ext>
            </a:extLst>
          </p:cNvPr>
          <p:cNvSpPr/>
          <p:nvPr/>
        </p:nvSpPr>
        <p:spPr>
          <a:xfrm>
            <a:off x="3988942" y="1497474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DC-070 Perform Fixed Asset Addition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8C5D0B2-AED6-4DD0-AD5E-A262364B4036}"/>
              </a:ext>
            </a:extLst>
          </p:cNvPr>
          <p:cNvSpPr/>
          <p:nvPr/>
        </p:nvSpPr>
        <p:spPr>
          <a:xfrm>
            <a:off x="385918" y="1947338"/>
            <a:ext cx="617220" cy="411480"/>
          </a:xfrm>
          <a:prstGeom prst="rect">
            <a:avLst/>
          </a:prstGeom>
          <a:solidFill>
            <a:srgbClr val="005E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bg1"/>
                </a:solidFill>
              </a:rPr>
              <a:t>C-100: Execute Internal Component Repair</a:t>
            </a:r>
            <a:endParaRPr lang="en-US" sz="500">
              <a:solidFill>
                <a:schemeClr val="bg1"/>
              </a:solidFill>
              <a:cs typeface="Calibri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B72FE3E-CAA6-47C9-A914-08376FD267DD}"/>
              </a:ext>
            </a:extLst>
          </p:cNvPr>
          <p:cNvSpPr/>
          <p:nvPr/>
        </p:nvSpPr>
        <p:spPr>
          <a:xfrm>
            <a:off x="8317401" y="1944577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-20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Implement Change Order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5514FA8-8D1F-4018-8B33-54CFF1406B0F}"/>
              </a:ext>
            </a:extLst>
          </p:cNvPr>
          <p:cNvSpPr/>
          <p:nvPr/>
        </p:nvSpPr>
        <p:spPr>
          <a:xfrm>
            <a:off x="8315717" y="1494713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-15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aintain Product Related Dat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8B27589-A62C-41ED-A669-1F13D1C1BF33}"/>
              </a:ext>
            </a:extLst>
          </p:cNvPr>
          <p:cNvSpPr/>
          <p:nvPr/>
        </p:nvSpPr>
        <p:spPr>
          <a:xfrm>
            <a:off x="7599876" y="1497474"/>
            <a:ext cx="617220" cy="411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rgbClr val="FFFFFF"/>
                </a:solidFill>
              </a:rPr>
              <a:t>M-100</a:t>
            </a:r>
          </a:p>
          <a:p>
            <a:pPr algn="ctr" defTabSz="457154">
              <a:defRPr/>
            </a:pPr>
            <a:r>
              <a:rPr lang="en-US" sz="500">
                <a:solidFill>
                  <a:srgbClr val="FFFFFF"/>
                </a:solidFill>
              </a:rPr>
              <a:t>Execute Produc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98A0188-9CC8-4DC8-9B30-6C7E5F6FE2BC}"/>
              </a:ext>
            </a:extLst>
          </p:cNvPr>
          <p:cNvSpPr/>
          <p:nvPr/>
        </p:nvSpPr>
        <p:spPr>
          <a:xfrm>
            <a:off x="6882806" y="2397202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-16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aintain Product Related Dat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628A624-1269-ECBE-DFD5-B9CF07ACD133}"/>
              </a:ext>
            </a:extLst>
          </p:cNvPr>
          <p:cNvSpPr/>
          <p:nvPr/>
        </p:nvSpPr>
        <p:spPr>
          <a:xfrm>
            <a:off x="1832088" y="2847066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250: Provide Customer Training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ACCA6C-0D74-D46A-3FA1-C0A0FF07210D}"/>
              </a:ext>
            </a:extLst>
          </p:cNvPr>
          <p:cNvSpPr/>
          <p:nvPr/>
        </p:nvSpPr>
        <p:spPr>
          <a:xfrm>
            <a:off x="1103217" y="2847066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240: Manage Configuration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6B8DBD-4828-BF56-11CF-8E9C5FEF99F9}"/>
              </a:ext>
            </a:extLst>
          </p:cNvPr>
          <p:cNvSpPr/>
          <p:nvPr/>
        </p:nvSpPr>
        <p:spPr>
          <a:xfrm>
            <a:off x="385918" y="2847066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230: Plan Work Arising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2716A0-F210-23A8-4CC9-C8896283314E}"/>
              </a:ext>
            </a:extLst>
          </p:cNvPr>
          <p:cNvSpPr/>
          <p:nvPr/>
        </p:nvSpPr>
        <p:spPr>
          <a:xfrm>
            <a:off x="1832088" y="3296930"/>
            <a:ext cx="617220" cy="411480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rgbClr val="FFFFFF"/>
                </a:solidFill>
                <a:ea typeface="+mn-lt"/>
                <a:cs typeface="+mn-lt"/>
              </a:rPr>
              <a:t>C-320: Manage Surplus</a:t>
            </a:r>
            <a:endParaRPr lang="en-US" sz="500">
              <a:solidFill>
                <a:srgbClr val="FFFFFF"/>
              </a:solidFill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6BE0D1-93B9-9AF9-2F5F-F92F221FA81E}"/>
              </a:ext>
            </a:extLst>
          </p:cNvPr>
          <p:cNvSpPr/>
          <p:nvPr/>
        </p:nvSpPr>
        <p:spPr>
          <a:xfrm>
            <a:off x="1103217" y="3296930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300: Maintain Service BOM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A06789C-C96B-ACDA-6288-EFE6EDD3DA43}"/>
              </a:ext>
            </a:extLst>
          </p:cNvPr>
          <p:cNvSpPr/>
          <p:nvPr/>
        </p:nvSpPr>
        <p:spPr>
          <a:xfrm>
            <a:off x="385918" y="3296930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C-270: Provide Spare Parts Support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147F41-2A24-990C-9EF9-5750C7D3BFC0}"/>
              </a:ext>
            </a:extLst>
          </p:cNvPr>
          <p:cNvSpPr/>
          <p:nvPr/>
        </p:nvSpPr>
        <p:spPr>
          <a:xfrm>
            <a:off x="1103217" y="374679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A-030: Service Parts Supply Planning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8C347D0-E979-3A29-475C-FFFF144A3DBA}"/>
              </a:ext>
            </a:extLst>
          </p:cNvPr>
          <p:cNvSpPr/>
          <p:nvPr/>
        </p:nvSpPr>
        <p:spPr>
          <a:xfrm>
            <a:off x="385918" y="374679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fr-FR" sz="500">
                <a:solidFill>
                  <a:schemeClr val="tx1"/>
                </a:solidFill>
              </a:rPr>
              <a:t>A-020: Service Parts Demand Management</a:t>
            </a:r>
            <a:endParaRPr lang="en-US" sz="500">
              <a:solidFill>
                <a:schemeClr val="tx1"/>
              </a:solidFill>
              <a:cs typeface="Calibri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EF708CF-3863-EED0-F341-36503CE40A92}"/>
              </a:ext>
            </a:extLst>
          </p:cNvPr>
          <p:cNvSpPr/>
          <p:nvPr/>
        </p:nvSpPr>
        <p:spPr>
          <a:xfrm>
            <a:off x="1825922" y="374679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ea typeface="+mn-lt"/>
                <a:cs typeface="+mn-lt"/>
              </a:rPr>
              <a:t>O-130: Return Order Management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64EAC1FE-CD25-4BB4-9E71-FCFD60E52721}"/>
              </a:ext>
            </a:extLst>
          </p:cNvPr>
          <p:cNvSpPr/>
          <p:nvPr/>
        </p:nvSpPr>
        <p:spPr>
          <a:xfrm>
            <a:off x="5428000" y="149747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MP-080 Obtain Project Approval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5CA3600-0460-4944-B660-BD6AB38A9695}"/>
              </a:ext>
            </a:extLst>
          </p:cNvPr>
          <p:cNvSpPr/>
          <p:nvPr/>
        </p:nvSpPr>
        <p:spPr>
          <a:xfrm>
            <a:off x="6148090" y="149747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MP-090 Manage Project Budgets &amp; Funding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A8B7AAC-0341-4983-920B-A835DDEE097F}"/>
              </a:ext>
            </a:extLst>
          </p:cNvPr>
          <p:cNvSpPr/>
          <p:nvPr/>
        </p:nvSpPr>
        <p:spPr>
          <a:xfrm>
            <a:off x="4713721" y="149747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MP-070 Analyze Project Feasibility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B765E9F-BFD5-42E3-806C-D6005355F2BB}"/>
              </a:ext>
            </a:extLst>
          </p:cNvPr>
          <p:cNvSpPr/>
          <p:nvPr/>
        </p:nvSpPr>
        <p:spPr>
          <a:xfrm>
            <a:off x="5430791" y="1954005"/>
            <a:ext cx="617220" cy="411480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/>
            <a:r>
              <a:rPr lang="en-US" sz="500">
                <a:solidFill>
                  <a:schemeClr val="bg1"/>
                </a:solidFill>
              </a:rPr>
              <a:t>MP-110 Execute Projec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C8F630A-7D67-4FAB-9EC8-8D786D794B74}"/>
              </a:ext>
            </a:extLst>
          </p:cNvPr>
          <p:cNvSpPr/>
          <p:nvPr/>
        </p:nvSpPr>
        <p:spPr>
          <a:xfrm>
            <a:off x="6148090" y="1954005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</a:rPr>
              <a:t>MP-120</a:t>
            </a:r>
          </a:p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</a:rPr>
              <a:t>Manage Start Up &amp; Commissioning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26C9195-34FA-4447-B87D-EB4DBDC1F2DA}"/>
              </a:ext>
            </a:extLst>
          </p:cNvPr>
          <p:cNvSpPr/>
          <p:nvPr/>
        </p:nvSpPr>
        <p:spPr>
          <a:xfrm>
            <a:off x="4713721" y="1954005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MP-100 Prepare and Schedule Project for Execu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9D62409-5C50-4E65-80C7-7EFF8BB48139}"/>
              </a:ext>
            </a:extLst>
          </p:cNvPr>
          <p:cNvSpPr/>
          <p:nvPr/>
        </p:nvSpPr>
        <p:spPr>
          <a:xfrm>
            <a:off x="4713267" y="2394441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MP130 Track and ‘Close Projec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CDA7ED6-B512-1C0C-1019-1A8447FC9AD9}"/>
              </a:ext>
            </a:extLst>
          </p:cNvPr>
          <p:cNvSpPr/>
          <p:nvPr/>
        </p:nvSpPr>
        <p:spPr>
          <a:xfrm>
            <a:off x="7597085" y="1051175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-07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Perform Medium Range Production Planning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501206A-A987-1805-D2FE-8FEE98889808}"/>
              </a:ext>
            </a:extLst>
          </p:cNvPr>
          <p:cNvSpPr/>
          <p:nvPr/>
        </p:nvSpPr>
        <p:spPr>
          <a:xfrm>
            <a:off x="6882806" y="1047610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-06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Perform Long Range Production Planning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1070C13-6B0A-0E42-09AB-E57CF1BB3908}"/>
              </a:ext>
            </a:extLst>
          </p:cNvPr>
          <p:cNvSpPr/>
          <p:nvPr/>
        </p:nvSpPr>
        <p:spPr>
          <a:xfrm>
            <a:off x="6882806" y="1947338"/>
            <a:ext cx="617220" cy="411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rgbClr val="FFFFFF"/>
                </a:solidFill>
              </a:rPr>
              <a:t>M-130</a:t>
            </a:r>
          </a:p>
          <a:p>
            <a:pPr algn="ctr" defTabSz="457154">
              <a:defRPr/>
            </a:pPr>
            <a:r>
              <a:rPr lang="en-US" sz="500">
                <a:solidFill>
                  <a:srgbClr val="FFFFFF"/>
                </a:solidFill>
              </a:rPr>
              <a:t>Perform Quality Managemen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F4130DD-9AD0-D15D-786F-6E9BF71F5EFE}"/>
              </a:ext>
            </a:extLst>
          </p:cNvPr>
          <p:cNvSpPr/>
          <p:nvPr/>
        </p:nvSpPr>
        <p:spPr>
          <a:xfrm>
            <a:off x="8316946" y="1047610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-08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Perform Short Range Production Plann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A84C931-A3CE-5A47-2FAA-5A070040EC7E}"/>
              </a:ext>
            </a:extLst>
          </p:cNvPr>
          <p:cNvSpPr/>
          <p:nvPr/>
        </p:nvSpPr>
        <p:spPr>
          <a:xfrm>
            <a:off x="6882806" y="1497474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-09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Schedule Production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7711F7B-E498-BEBB-87C9-358D4B09FDC3}"/>
              </a:ext>
            </a:extLst>
          </p:cNvPr>
          <p:cNvSpPr/>
          <p:nvPr/>
        </p:nvSpPr>
        <p:spPr>
          <a:xfrm>
            <a:off x="8317402" y="2394441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P-14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Determine Discrepant Material Disposition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2F63399-323D-905E-E44E-DA5EFF7FB84A}"/>
              </a:ext>
            </a:extLst>
          </p:cNvPr>
          <p:cNvSpPr/>
          <p:nvPr/>
        </p:nvSpPr>
        <p:spPr>
          <a:xfrm>
            <a:off x="7599876" y="1947338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-14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anage Product Disposition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873C226-FAA8-5905-C343-85EA65DC91C8}"/>
              </a:ext>
            </a:extLst>
          </p:cNvPr>
          <p:cNvSpPr/>
          <p:nvPr/>
        </p:nvSpPr>
        <p:spPr>
          <a:xfrm>
            <a:off x="6882806" y="2847066"/>
            <a:ext cx="617220" cy="411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rgbClr val="FFFFFF"/>
                </a:solidFill>
              </a:rPr>
              <a:t>P-130</a:t>
            </a:r>
          </a:p>
          <a:p>
            <a:pPr algn="ctr" defTabSz="457154">
              <a:defRPr/>
            </a:pPr>
            <a:r>
              <a:rPr lang="en-US" sz="500">
                <a:solidFill>
                  <a:srgbClr val="FFFFFF"/>
                </a:solidFill>
              </a:rPr>
              <a:t>Perform Incoming Quality Assuranc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A7577F5-3BB0-078D-6C4E-F51357684898}"/>
              </a:ext>
            </a:extLst>
          </p:cNvPr>
          <p:cNvSpPr/>
          <p:nvPr/>
        </p:nvSpPr>
        <p:spPr>
          <a:xfrm>
            <a:off x="7597085" y="2851627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EHS-03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Substance Volume Tracking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FD981B0-29EC-05AE-8226-51214059E55E}"/>
              </a:ext>
            </a:extLst>
          </p:cNvPr>
          <p:cNvSpPr/>
          <p:nvPr/>
        </p:nvSpPr>
        <p:spPr>
          <a:xfrm>
            <a:off x="8316069" y="2851627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EHS-04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</a:rPr>
              <a:t>Dangerous Goods Management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00D456-FED3-71C6-CE3A-6F7A85AD93E0}"/>
              </a:ext>
            </a:extLst>
          </p:cNvPr>
          <p:cNvSpPr/>
          <p:nvPr/>
        </p:nvSpPr>
        <p:spPr>
          <a:xfrm>
            <a:off x="7599875" y="2397202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M-17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cs typeface="Arial"/>
              </a:rPr>
              <a:t>Control and Report Production Operations</a:t>
            </a:r>
          </a:p>
        </p:txBody>
      </p:sp>
    </p:spTree>
    <p:extLst>
      <p:ext uri="{BB962C8B-B14F-4D97-AF65-F5344CB8AC3E}">
        <p14:creationId xmlns:p14="http://schemas.microsoft.com/office/powerpoint/2010/main" val="18604713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F8FA91-A05C-4A97-9F6D-DDE9EF6BE1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F8FA91-A05C-4A97-9F6D-DDE9EF6BE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B986FFF8-7322-4945-BD62-4B98B7C41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2971" y="82404"/>
            <a:ext cx="8229600" cy="627454"/>
          </a:xfrm>
        </p:spPr>
        <p:txBody>
          <a:bodyPr vert="horz">
            <a:normAutofit/>
          </a:bodyPr>
          <a:lstStyle/>
          <a:p>
            <a:r>
              <a:rPr lang="en-US" sz="2000">
                <a:solidFill>
                  <a:srgbClr val="005EB8"/>
                </a:solidFill>
              </a:rPr>
              <a:t>Capability Segmentation Heatmap</a:t>
            </a:r>
            <a:endParaRPr lang="en-US" sz="2000"/>
          </a:p>
        </p:txBody>
      </p:sp>
      <p:sp>
        <p:nvSpPr>
          <p:cNvPr id="79" name="Slide Number Placeholder 3">
            <a:extLst>
              <a:ext uri="{FF2B5EF4-FFF2-40B4-BE49-F238E27FC236}">
                <a16:creationId xmlns:a16="http://schemas.microsoft.com/office/drawing/2014/main" id="{5AB7FB13-6487-B235-D40C-EF935A0D1E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51780" y="4767264"/>
            <a:ext cx="535020" cy="273844"/>
          </a:xfrm>
        </p:spPr>
        <p:txBody>
          <a:bodyPr/>
          <a:lstStyle/>
          <a:p>
            <a:fld id="{3F2A62CB-A42E-470E-A301-EA6420987B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98BB4911-2364-996D-B74E-A3293E773261}"/>
              </a:ext>
            </a:extLst>
          </p:cNvPr>
          <p:cNvSpPr/>
          <p:nvPr/>
        </p:nvSpPr>
        <p:spPr>
          <a:xfrm>
            <a:off x="3229573" y="790679"/>
            <a:ext cx="3402906" cy="2103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>
              <a:defRPr/>
            </a:pPr>
            <a:r>
              <a:rPr lang="en-US" sz="800" b="1">
                <a:solidFill>
                  <a:srgbClr val="FFFFFF"/>
                </a:solidFill>
                <a:latin typeface="Arial" panose="020B0604020202020204"/>
              </a:rPr>
              <a:t>Requisition to Check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DA23E0E-3F0A-FB81-8CDE-C2771E162B51}"/>
              </a:ext>
            </a:extLst>
          </p:cNvPr>
          <p:cNvSpPr/>
          <p:nvPr/>
        </p:nvSpPr>
        <p:spPr>
          <a:xfrm>
            <a:off x="388558" y="790679"/>
            <a:ext cx="2739813" cy="2103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4">
              <a:defRPr/>
            </a:pPr>
            <a:r>
              <a:rPr lang="en-US" sz="800" b="1">
                <a:solidFill>
                  <a:srgbClr val="FFFFFF"/>
                </a:solidFill>
                <a:latin typeface="Arial" panose="020B0604020202020204"/>
              </a:rPr>
              <a:t>Quote to Cash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3E94DB1-A1AF-9CFA-1A4E-E7BA325633BB}"/>
              </a:ext>
            </a:extLst>
          </p:cNvPr>
          <p:cNvSpPr/>
          <p:nvPr/>
        </p:nvSpPr>
        <p:spPr>
          <a:xfrm>
            <a:off x="1094746" y="2928280"/>
            <a:ext cx="621792" cy="411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bg1"/>
                </a:solidFill>
                <a:latin typeface="Arial" panose="020B0604020202020204"/>
              </a:rPr>
              <a:t>S-19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bg1"/>
                </a:solidFill>
                <a:latin typeface="Arial" panose="020B0604020202020204"/>
              </a:rPr>
              <a:t>Manage and Evaluate Sales Performance</a:t>
            </a:r>
            <a:endParaRPr lang="en-US" sz="500">
              <a:solidFill>
                <a:schemeClr val="bg1"/>
              </a:solidFill>
              <a:latin typeface="Arial" panose="020B0604020202020204"/>
              <a:cs typeface="Arial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D99F901-DCDA-10ED-6947-839A202A0605}"/>
              </a:ext>
            </a:extLst>
          </p:cNvPr>
          <p:cNvSpPr/>
          <p:nvPr/>
        </p:nvSpPr>
        <p:spPr>
          <a:xfrm>
            <a:off x="388558" y="2928280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N-02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Perform Billing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A7C6F7D5-CD29-F7E5-EBCE-77850B091D4D}"/>
              </a:ext>
            </a:extLst>
          </p:cNvPr>
          <p:cNvSpPr/>
          <p:nvPr/>
        </p:nvSpPr>
        <p:spPr>
          <a:xfrm>
            <a:off x="1800662" y="2461667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N-025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Perform Down Payment Request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3E3E7D5-0908-C2D5-94F7-ACB3297E790F}"/>
              </a:ext>
            </a:extLst>
          </p:cNvPr>
          <p:cNvSpPr/>
          <p:nvPr/>
        </p:nvSpPr>
        <p:spPr>
          <a:xfrm>
            <a:off x="1090615" y="1061828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O-02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Process Orders</a:t>
            </a:r>
            <a:endParaRPr lang="en-US" sz="500">
              <a:solidFill>
                <a:schemeClr val="tx1"/>
              </a:solidFill>
              <a:cs typeface="Arial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8A83FCE-92AC-AE64-3646-8835526A8C1E}"/>
              </a:ext>
            </a:extLst>
          </p:cNvPr>
          <p:cNvSpPr/>
          <p:nvPr/>
        </p:nvSpPr>
        <p:spPr>
          <a:xfrm>
            <a:off x="1800662" y="1061828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N-01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Initiate and Monitor Contract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857E187-9E34-9700-AF8F-25B1F8D579AB}"/>
              </a:ext>
            </a:extLst>
          </p:cNvPr>
          <p:cNvSpPr/>
          <p:nvPr/>
        </p:nvSpPr>
        <p:spPr>
          <a:xfrm>
            <a:off x="388829" y="1061828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O-040A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Calculate Order Pricing Data 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264CA25-A6BA-31E7-7724-403698E01EB3}"/>
              </a:ext>
            </a:extLst>
          </p:cNvPr>
          <p:cNvSpPr/>
          <p:nvPr/>
        </p:nvSpPr>
        <p:spPr>
          <a:xfrm>
            <a:off x="1094746" y="1528441"/>
            <a:ext cx="621792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O-03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Maintain Customer Data</a:t>
            </a:r>
            <a:endParaRPr lang="en-US" sz="500">
              <a:solidFill>
                <a:srgbClr val="FF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4183E0C-1DA9-207B-8C70-BEE684FC23C4}"/>
              </a:ext>
            </a:extLst>
          </p:cNvPr>
          <p:cNvSpPr/>
          <p:nvPr/>
        </p:nvSpPr>
        <p:spPr>
          <a:xfrm>
            <a:off x="1800662" y="1528441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O-04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Manage &amp; Track Orders Deliveries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110438D-E2AA-82AF-6C0B-A39DEF153275}"/>
              </a:ext>
            </a:extLst>
          </p:cNvPr>
          <p:cNvSpPr/>
          <p:nvPr/>
        </p:nvSpPr>
        <p:spPr>
          <a:xfrm>
            <a:off x="388829" y="1528441"/>
            <a:ext cx="621792" cy="411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bg1"/>
                </a:solidFill>
                <a:latin typeface="Arial" panose="020B0604020202020204"/>
              </a:rPr>
              <a:t>S-23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bg1"/>
                </a:solidFill>
                <a:latin typeface="Arial" panose="020B0604020202020204"/>
              </a:rPr>
              <a:t>Initiate, Manage and Close Partner Sales</a:t>
            </a:r>
            <a:endParaRPr lang="en-US" sz="500">
              <a:solidFill>
                <a:schemeClr val="bg1"/>
              </a:solidFill>
              <a:latin typeface="Arial" panose="020B0604020202020204"/>
              <a:cs typeface="Arial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54BF3B0-0214-2F54-5FC5-C39F7B82B838}"/>
              </a:ext>
            </a:extLst>
          </p:cNvPr>
          <p:cNvSpPr/>
          <p:nvPr/>
        </p:nvSpPr>
        <p:spPr>
          <a:xfrm>
            <a:off x="1094746" y="1995053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N-05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Manage Contract Changes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873A9B7-F410-78AD-C29C-7561348E4B46}"/>
              </a:ext>
            </a:extLst>
          </p:cNvPr>
          <p:cNvSpPr/>
          <p:nvPr/>
        </p:nvSpPr>
        <p:spPr>
          <a:xfrm>
            <a:off x="1800662" y="1995053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O-33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Manage Quotations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9D9DD53-6C21-6CE3-B2C3-4A241973D0D3}"/>
              </a:ext>
            </a:extLst>
          </p:cNvPr>
          <p:cNvSpPr/>
          <p:nvPr/>
        </p:nvSpPr>
        <p:spPr>
          <a:xfrm>
            <a:off x="1094746" y="2461667"/>
            <a:ext cx="621792" cy="411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bg1"/>
                </a:solidFill>
                <a:latin typeface="Arial" panose="020B0604020202020204"/>
              </a:rPr>
              <a:t>S-17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bg1"/>
                </a:solidFill>
                <a:latin typeface="Arial" panose="020B0604020202020204"/>
              </a:rPr>
              <a:t>Initiate and Mange and Close Internet Sales</a:t>
            </a:r>
            <a:endParaRPr lang="en-US">
              <a:solidFill>
                <a:schemeClr val="bg1"/>
              </a:solidFill>
              <a:cs typeface="Arial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2EEDCCFF-C430-B6D7-CAD8-5BC33577A117}"/>
              </a:ext>
            </a:extLst>
          </p:cNvPr>
          <p:cNvSpPr/>
          <p:nvPr/>
        </p:nvSpPr>
        <p:spPr>
          <a:xfrm>
            <a:off x="388829" y="2461667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413">
                <a:solidFill>
                  <a:schemeClr val="tx1"/>
                </a:solidFill>
                <a:latin typeface="Arial" panose="020B0604020202020204"/>
              </a:rPr>
              <a:t>N-040</a:t>
            </a:r>
          </a:p>
          <a:p>
            <a:pPr algn="ctr" defTabSz="457154">
              <a:defRPr/>
            </a:pPr>
            <a:r>
              <a:rPr lang="en-US" sz="413">
                <a:solidFill>
                  <a:schemeClr val="tx1"/>
                </a:solidFill>
                <a:latin typeface="Arial" panose="020B0604020202020204"/>
              </a:rPr>
              <a:t>Provide Customer support and Audit requirement</a:t>
            </a:r>
            <a:endParaRPr lang="en-US" sz="413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CC740F53-6408-53A7-8826-ACEFF3ADA2FB}"/>
              </a:ext>
            </a:extLst>
          </p:cNvPr>
          <p:cNvSpPr/>
          <p:nvPr/>
        </p:nvSpPr>
        <p:spPr>
          <a:xfrm>
            <a:off x="388829" y="1995053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latin typeface="Arial" panose="020B0604020202020204"/>
              </a:rPr>
              <a:t>O-040</a:t>
            </a:r>
          </a:p>
          <a:p>
            <a:pPr algn="ctr" defTabSz="457154">
              <a:defRPr/>
            </a:pPr>
            <a:r>
              <a:rPr lang="en-US" sz="500">
                <a:latin typeface="Arial" panose="020B0604020202020204"/>
              </a:rPr>
              <a:t>Manage and Track Order </a:t>
            </a:r>
            <a:endParaRPr lang="en-US" sz="500">
              <a:latin typeface="Arial" panose="020B0604020202020204"/>
              <a:cs typeface="Arial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221A89C-C1D0-A65A-B66C-5610D7263740}"/>
              </a:ext>
            </a:extLst>
          </p:cNvPr>
          <p:cNvSpPr/>
          <p:nvPr/>
        </p:nvSpPr>
        <p:spPr>
          <a:xfrm>
            <a:off x="4622414" y="2462981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L-17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Intercompany Stock Transport Order (STO)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2D88B59-7633-BDF7-381A-4F2929CD2D9C}"/>
              </a:ext>
            </a:extLst>
          </p:cNvPr>
          <p:cNvSpPr/>
          <p:nvPr/>
        </p:nvSpPr>
        <p:spPr>
          <a:xfrm>
            <a:off x="4622414" y="1995053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25">
                <a:solidFill>
                  <a:srgbClr val="000000"/>
                </a:solidFill>
              </a:rPr>
              <a:t>P-250: Purchase Indirect material and Services</a:t>
            </a:r>
            <a:endParaRPr lang="en-US" sz="525">
              <a:latin typeface="Calibri" panose="020F0502020204030204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631D04D6-EAED-7E74-D674-5AE0928DD8F0}"/>
              </a:ext>
            </a:extLst>
          </p:cNvPr>
          <p:cNvSpPr/>
          <p:nvPr/>
        </p:nvSpPr>
        <p:spPr>
          <a:xfrm>
            <a:off x="3926707" y="1528441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-09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Monitor and Manage Supplier Contract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5A98FE44-F284-A321-37BE-0D4A38988845}"/>
              </a:ext>
            </a:extLst>
          </p:cNvPr>
          <p:cNvSpPr/>
          <p:nvPr/>
        </p:nvSpPr>
        <p:spPr>
          <a:xfrm>
            <a:off x="3229573" y="2462981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  <a:latin typeface="+mj-lt"/>
                <a:cs typeface="Arial"/>
              </a:rPr>
              <a:t>P-040</a:t>
            </a:r>
          </a:p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  <a:latin typeface="+mj-lt"/>
                <a:cs typeface="Arial"/>
              </a:rPr>
              <a:t>Maintain Supplier Certification &amp; Monitor Performance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D7A83ED-D62E-6E22-9FD8-23B05DAF1CB6}"/>
              </a:ext>
            </a:extLst>
          </p:cNvPr>
          <p:cNvSpPr/>
          <p:nvPr/>
        </p:nvSpPr>
        <p:spPr>
          <a:xfrm>
            <a:off x="3926707" y="1061828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-23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Create and Maintain Purchasing Master Data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27D44C6-B024-B6E5-EF3A-7A488EF00AC0}"/>
              </a:ext>
            </a:extLst>
          </p:cNvPr>
          <p:cNvSpPr/>
          <p:nvPr/>
        </p:nvSpPr>
        <p:spPr>
          <a:xfrm>
            <a:off x="3229573" y="1061828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-220 </a:t>
            </a:r>
            <a:endParaRPr lang="en-US" sz="500">
              <a:solidFill>
                <a:schemeClr val="tx1"/>
              </a:solidFill>
              <a:latin typeface="+mj-lt"/>
            </a:endParaRP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Manage Vendor Master Data</a:t>
            </a:r>
            <a:endParaRPr lang="en-US" sz="5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134E8D5-EB4C-71D4-007D-42BA20D33DF3}"/>
              </a:ext>
            </a:extLst>
          </p:cNvPr>
          <p:cNvSpPr/>
          <p:nvPr/>
        </p:nvSpPr>
        <p:spPr>
          <a:xfrm>
            <a:off x="3229573" y="1995053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-08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urchase Materials and Services 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B099D3D-0C36-A96A-490C-8E776E0CBA75}"/>
              </a:ext>
            </a:extLst>
          </p:cNvPr>
          <p:cNvSpPr/>
          <p:nvPr/>
        </p:nvSpPr>
        <p:spPr>
          <a:xfrm>
            <a:off x="4622414" y="1061828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-050 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Strategic Sourcing Materials &amp; Service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A076559-973B-C0A1-9E40-4ADC326FB795}"/>
              </a:ext>
            </a:extLst>
          </p:cNvPr>
          <p:cNvSpPr/>
          <p:nvPr/>
        </p:nvSpPr>
        <p:spPr>
          <a:xfrm>
            <a:off x="3229573" y="1528441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-06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Manage Procurement Contracts &amp; RFQ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EB863D7-C21D-E5A4-0181-4108D129B988}"/>
              </a:ext>
            </a:extLst>
          </p:cNvPr>
          <p:cNvSpPr/>
          <p:nvPr/>
        </p:nvSpPr>
        <p:spPr>
          <a:xfrm>
            <a:off x="3933352" y="1995053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50">
                <a:solidFill>
                  <a:srgbClr val="000000"/>
                </a:solidFill>
              </a:rPr>
              <a:t>P-240: Create and Maintain Purchase Requisitions (Indirect Material)</a:t>
            </a:r>
            <a:endParaRPr lang="en-US" sz="450">
              <a:latin typeface="Calibri" panose="020F050202020403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2F409B0A-9271-B08A-26A5-6155D561C9B4}"/>
              </a:ext>
            </a:extLst>
          </p:cNvPr>
          <p:cNvSpPr/>
          <p:nvPr/>
        </p:nvSpPr>
        <p:spPr>
          <a:xfrm>
            <a:off x="3935264" y="2928280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EW-080 Inventory Control- Manage Scrap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BC070FC8-1BD3-DC94-4AD2-ADE43EC88C71}"/>
              </a:ext>
            </a:extLst>
          </p:cNvPr>
          <p:cNvSpPr/>
          <p:nvPr/>
        </p:nvSpPr>
        <p:spPr>
          <a:xfrm>
            <a:off x="6015257" y="2926964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EW-170 Outbound Process- Picking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19283E8-01B2-22BE-33C4-7F0133E0C7FE}"/>
              </a:ext>
            </a:extLst>
          </p:cNvPr>
          <p:cNvSpPr/>
          <p:nvPr/>
        </p:nvSpPr>
        <p:spPr>
          <a:xfrm>
            <a:off x="4622414" y="1528441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-07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Create and Maintain Purchase Requisition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932CF704-6AA9-3E31-E5A6-262F7AF3676A}"/>
              </a:ext>
            </a:extLst>
          </p:cNvPr>
          <p:cNvSpPr/>
          <p:nvPr/>
        </p:nvSpPr>
        <p:spPr>
          <a:xfrm>
            <a:off x="3229573" y="3393578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EW-180 Outbound Process- Packing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D98E1AC3-B354-3AEF-9A18-B367BCDBA4A0}"/>
              </a:ext>
            </a:extLst>
          </p:cNvPr>
          <p:cNvSpPr/>
          <p:nvPr/>
        </p:nvSpPr>
        <p:spPr>
          <a:xfrm>
            <a:off x="3229573" y="2928280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EW-07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Inventory Control- Ad Hoc Warehouse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502D0B7-28C6-3EA5-54D0-D3144C2D7112}"/>
              </a:ext>
            </a:extLst>
          </p:cNvPr>
          <p:cNvSpPr/>
          <p:nvPr/>
        </p:nvSpPr>
        <p:spPr>
          <a:xfrm>
            <a:off x="3933350" y="2462981"/>
            <a:ext cx="617220" cy="411480"/>
          </a:xfrm>
          <a:prstGeom prst="rect">
            <a:avLst/>
          </a:prstGeom>
          <a:solidFill>
            <a:srgbClr val="99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  <a:latin typeface="+mj-lt"/>
                <a:cs typeface="Arial"/>
              </a:rPr>
              <a:t>P-200 </a:t>
            </a:r>
          </a:p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  <a:latin typeface="+mj-lt"/>
                <a:cs typeface="Arial"/>
              </a:rPr>
              <a:t>Manage Procurement from Small &amp; Minority Owned Businesses 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F48EB76-1CC1-52CA-17EF-A2486BBA6D04}"/>
              </a:ext>
            </a:extLst>
          </p:cNvPr>
          <p:cNvSpPr/>
          <p:nvPr/>
        </p:nvSpPr>
        <p:spPr>
          <a:xfrm>
            <a:off x="6224667" y="4608140"/>
            <a:ext cx="410360" cy="15472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endParaRPr lang="en-US" sz="50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3509457D-8A8E-F6D3-26D5-F097175ED41A}"/>
              </a:ext>
            </a:extLst>
          </p:cNvPr>
          <p:cNvSpPr txBox="1"/>
          <p:nvPr/>
        </p:nvSpPr>
        <p:spPr>
          <a:xfrm>
            <a:off x="6652618" y="4425318"/>
            <a:ext cx="12688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10">
              <a:defRPr/>
            </a:pPr>
            <a:r>
              <a:rPr lang="en-US" sz="700">
                <a:solidFill>
                  <a:srgbClr val="000000"/>
                </a:solidFill>
                <a:latin typeface="Arial" panose="020B0604020202020204"/>
              </a:rPr>
              <a:t>Strategic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5D049D05-B0CE-DF50-CD1B-982002849C02}"/>
              </a:ext>
            </a:extLst>
          </p:cNvPr>
          <p:cNvSpPr/>
          <p:nvPr/>
        </p:nvSpPr>
        <p:spPr>
          <a:xfrm>
            <a:off x="7337620" y="4438143"/>
            <a:ext cx="410976" cy="165918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endParaRPr lang="en-US" sz="50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57C67EE3-ED7C-C657-45A6-7E5387F5E07B}"/>
              </a:ext>
            </a:extLst>
          </p:cNvPr>
          <p:cNvSpPr/>
          <p:nvPr/>
        </p:nvSpPr>
        <p:spPr>
          <a:xfrm>
            <a:off x="6224048" y="4420597"/>
            <a:ext cx="410976" cy="1659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endParaRPr lang="en-US" sz="5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A5480458-6050-9EE7-3D23-14BFFE9AEEF9}"/>
              </a:ext>
            </a:extLst>
          </p:cNvPr>
          <p:cNvSpPr/>
          <p:nvPr/>
        </p:nvSpPr>
        <p:spPr>
          <a:xfrm>
            <a:off x="7337620" y="4623359"/>
            <a:ext cx="410976" cy="165918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endParaRPr lang="en-US" sz="500">
              <a:solidFill>
                <a:srgbClr val="2C3F88"/>
              </a:solidFill>
              <a:latin typeface="Arial" panose="020B0604020202020204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0FC061B2-A1B0-A6F8-33A8-576C21E31447}"/>
              </a:ext>
            </a:extLst>
          </p:cNvPr>
          <p:cNvSpPr txBox="1"/>
          <p:nvPr/>
        </p:nvSpPr>
        <p:spPr>
          <a:xfrm>
            <a:off x="6632119" y="4601205"/>
            <a:ext cx="154154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10">
              <a:defRPr/>
            </a:pPr>
            <a:r>
              <a:rPr lang="en-US" sz="700">
                <a:solidFill>
                  <a:srgbClr val="000000"/>
                </a:solidFill>
                <a:latin typeface="Arial" panose="020B0604020202020204"/>
              </a:rPr>
              <a:t>Foundational 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AB6BAE6-A0A0-A59F-6EF1-78452C5D9D09}"/>
              </a:ext>
            </a:extLst>
          </p:cNvPr>
          <p:cNvSpPr txBox="1"/>
          <p:nvPr/>
        </p:nvSpPr>
        <p:spPr>
          <a:xfrm>
            <a:off x="7745689" y="4625373"/>
            <a:ext cx="149541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10">
              <a:defRPr/>
            </a:pPr>
            <a:r>
              <a:rPr lang="en-US" sz="700">
                <a:solidFill>
                  <a:srgbClr val="000000"/>
                </a:solidFill>
                <a:latin typeface="Arial" panose="020B0604020202020204"/>
              </a:rPr>
              <a:t>Out of Scope 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5BFEC2B4-1B5E-C7A0-9FE6-1717DB27D0B9}"/>
              </a:ext>
            </a:extLst>
          </p:cNvPr>
          <p:cNvSpPr txBox="1"/>
          <p:nvPr/>
        </p:nvSpPr>
        <p:spPr>
          <a:xfrm>
            <a:off x="7766189" y="4424155"/>
            <a:ext cx="90181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10">
              <a:defRPr/>
            </a:pPr>
            <a:r>
              <a:rPr lang="en-US" sz="700">
                <a:solidFill>
                  <a:srgbClr val="000000"/>
                </a:solidFill>
                <a:latin typeface="Arial" panose="020B0604020202020204"/>
              </a:rPr>
              <a:t>Core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665F05DC-B496-BEB2-404B-B5F6EC8ACA2E}"/>
              </a:ext>
            </a:extLst>
          </p:cNvPr>
          <p:cNvSpPr/>
          <p:nvPr/>
        </p:nvSpPr>
        <p:spPr>
          <a:xfrm>
            <a:off x="1800662" y="2928280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O-08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Perform Compliance and customer Acceptance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E1DB33E-C1FC-2419-4713-F39E41510163}"/>
              </a:ext>
            </a:extLst>
          </p:cNvPr>
          <p:cNvSpPr/>
          <p:nvPr/>
        </p:nvSpPr>
        <p:spPr>
          <a:xfrm>
            <a:off x="395336" y="3394892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O-10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Process Spare Order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BD09BC48-F6E5-15AF-2B11-0470E3B5F09B}"/>
              </a:ext>
            </a:extLst>
          </p:cNvPr>
          <p:cNvSpPr/>
          <p:nvPr/>
        </p:nvSpPr>
        <p:spPr>
          <a:xfrm>
            <a:off x="1094746" y="3394892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O-12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Manage Backorders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99ED311A-92D2-614F-C724-5672B87D497B}"/>
              </a:ext>
            </a:extLst>
          </p:cNvPr>
          <p:cNvSpPr/>
          <p:nvPr/>
        </p:nvSpPr>
        <p:spPr>
          <a:xfrm>
            <a:off x="1800662" y="3394892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O-32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Manage Inquiries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DE996E26-F1E8-326D-D018-564BC3696AD6}"/>
              </a:ext>
            </a:extLst>
          </p:cNvPr>
          <p:cNvSpPr/>
          <p:nvPr/>
        </p:nvSpPr>
        <p:spPr>
          <a:xfrm>
            <a:off x="395336" y="3861506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Initiate and Monitor Scheduling Agreement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A6A3E12-4FBE-2522-F4D4-6A04AD7E9C5A}"/>
              </a:ext>
            </a:extLst>
          </p:cNvPr>
          <p:cNvSpPr/>
          <p:nvPr/>
        </p:nvSpPr>
        <p:spPr>
          <a:xfrm>
            <a:off x="1094746" y="3861506"/>
            <a:ext cx="621792" cy="4114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bg1"/>
                </a:solidFill>
                <a:latin typeface="Arial" panose="020B0604020202020204"/>
              </a:rPr>
              <a:t>S-24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bg1"/>
                </a:solidFill>
                <a:latin typeface="Arial" panose="020B0604020202020204"/>
              </a:rPr>
              <a:t>Develop Sales Forecast</a:t>
            </a:r>
            <a:endParaRPr lang="en-US" sz="500">
              <a:solidFill>
                <a:schemeClr val="bg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5C8A4205-A841-FC6E-FE10-A9700B18792F}"/>
              </a:ext>
            </a:extLst>
          </p:cNvPr>
          <p:cNvSpPr/>
          <p:nvPr/>
        </p:nvSpPr>
        <p:spPr>
          <a:xfrm>
            <a:off x="2506579" y="1995053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GT-03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Compliance Screening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285FA894-4E97-0438-3B24-72E835FDDC06}"/>
              </a:ext>
            </a:extLst>
          </p:cNvPr>
          <p:cNvSpPr/>
          <p:nvPr/>
        </p:nvSpPr>
        <p:spPr>
          <a:xfrm>
            <a:off x="2506579" y="1061828"/>
            <a:ext cx="621792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25">
                <a:solidFill>
                  <a:srgbClr val="000000"/>
                </a:solidFill>
              </a:rPr>
              <a:t>GT-18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Manage Global Trade Master Data 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C07F064-3702-9C26-7DA0-AFC0124E6EFD}"/>
              </a:ext>
            </a:extLst>
          </p:cNvPr>
          <p:cNvSpPr/>
          <p:nvPr/>
        </p:nvSpPr>
        <p:spPr>
          <a:xfrm>
            <a:off x="2515118" y="2458700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GT-09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Manage Trade Preference 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E36D7DC-2089-1224-E513-6230137FC887}"/>
              </a:ext>
            </a:extLst>
          </p:cNvPr>
          <p:cNvSpPr/>
          <p:nvPr/>
        </p:nvSpPr>
        <p:spPr>
          <a:xfrm>
            <a:off x="2506579" y="1528441"/>
            <a:ext cx="621792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GT-02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Product Classification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3B68E9D6-5190-CB62-0AEB-F4EED560CFE5}"/>
              </a:ext>
            </a:extLst>
          </p:cNvPr>
          <p:cNvSpPr/>
          <p:nvPr/>
        </p:nvSpPr>
        <p:spPr>
          <a:xfrm>
            <a:off x="2506579" y="3394892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25">
                <a:solidFill>
                  <a:srgbClr val="000000"/>
                </a:solidFill>
              </a:rPr>
              <a:t>GT-100: Intrastat Report</a:t>
            </a:r>
            <a:endParaRPr lang="en-US" sz="450">
              <a:latin typeface="Calibri" panose="020F0502020204030204" pitchFamily="34" charset="0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98108D6-809F-7828-631E-44591093A354}"/>
              </a:ext>
            </a:extLst>
          </p:cNvPr>
          <p:cNvSpPr/>
          <p:nvPr/>
        </p:nvSpPr>
        <p:spPr>
          <a:xfrm>
            <a:off x="2506579" y="2928280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GT-05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File Import and Export Transaction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D5FBDBA-A66B-00EA-5CB4-456CED1ECB34}"/>
              </a:ext>
            </a:extLst>
          </p:cNvPr>
          <p:cNvSpPr/>
          <p:nvPr/>
        </p:nvSpPr>
        <p:spPr>
          <a:xfrm>
            <a:off x="1802831" y="3861506"/>
            <a:ext cx="621792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GT-11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Arial" panose="020B0604020202020204"/>
              </a:rPr>
              <a:t>Global Trade Reporting </a:t>
            </a:r>
            <a:endParaRPr lang="en-US" sz="500">
              <a:solidFill>
                <a:schemeClr val="tx1"/>
              </a:solidFill>
              <a:latin typeface="Arial" panose="020B0604020202020204"/>
              <a:cs typeface="Arial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178172C4-F972-6760-1973-72F77E2D08D4}"/>
              </a:ext>
            </a:extLst>
          </p:cNvPr>
          <p:cNvSpPr/>
          <p:nvPr/>
        </p:nvSpPr>
        <p:spPr>
          <a:xfrm>
            <a:off x="5318836" y="2462981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I-10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Manage Supplier Consignment Stock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CBDFE004-BFBE-B76E-5472-8B82AF155607}"/>
              </a:ext>
            </a:extLst>
          </p:cNvPr>
          <p:cNvSpPr/>
          <p:nvPr/>
        </p:nvSpPr>
        <p:spPr>
          <a:xfrm>
            <a:off x="5318836" y="1995053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M-19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Manage Subcontracting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91B2CB4-66D4-B104-B98E-5EDF820A54BE}"/>
              </a:ext>
            </a:extLst>
          </p:cNvPr>
          <p:cNvSpPr/>
          <p:nvPr/>
        </p:nvSpPr>
        <p:spPr>
          <a:xfrm>
            <a:off x="5318836" y="1061828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-145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Return to Vendor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227D5EE-87D9-79FB-1D8C-70291C108F4C}"/>
              </a:ext>
            </a:extLst>
          </p:cNvPr>
          <p:cNvSpPr/>
          <p:nvPr/>
        </p:nvSpPr>
        <p:spPr>
          <a:xfrm>
            <a:off x="5318836" y="1528441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-110 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Procure Subcontracting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2F33CA1C-8DAC-BE80-CEBC-4CFA8DEA76F6}"/>
              </a:ext>
            </a:extLst>
          </p:cNvPr>
          <p:cNvSpPr/>
          <p:nvPr/>
        </p:nvSpPr>
        <p:spPr>
          <a:xfrm>
            <a:off x="6015259" y="1528441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  <a:latin typeface="+mj-lt"/>
                <a:cs typeface="Arial"/>
              </a:rPr>
              <a:t>EW-040 </a:t>
            </a:r>
            <a:endParaRPr lang="en-US">
              <a:solidFill>
                <a:schemeClr val="tx1"/>
              </a:solidFill>
            </a:endParaRPr>
          </a:p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  <a:latin typeface="+mj-lt"/>
                <a:cs typeface="Arial"/>
              </a:rPr>
              <a:t>Inbound Process- Post GR &amp; Product Destination Determination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B54065D7-0CF1-0C8F-27E9-842BD9D6A7AB}"/>
              </a:ext>
            </a:extLst>
          </p:cNvPr>
          <p:cNvSpPr/>
          <p:nvPr/>
        </p:nvSpPr>
        <p:spPr>
          <a:xfrm>
            <a:off x="6015259" y="1061828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  <a:latin typeface="+mj-lt"/>
                <a:cs typeface="Arial"/>
              </a:rPr>
              <a:t>EW-010</a:t>
            </a:r>
          </a:p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  <a:latin typeface="+mj-lt"/>
                <a:cs typeface="Arial"/>
              </a:rPr>
              <a:t>Inbound Process- Inbound Notification &amp; Planning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BA5C531-1396-F2E9-3EE0-8136CE6639CC}"/>
              </a:ext>
            </a:extLst>
          </p:cNvPr>
          <p:cNvSpPr/>
          <p:nvPr/>
        </p:nvSpPr>
        <p:spPr>
          <a:xfrm>
            <a:off x="6015259" y="1995053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EW-06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Inbound Process- Put Away Product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09BD18EA-E803-AFEB-CB32-8641F01FF808}"/>
              </a:ext>
            </a:extLst>
          </p:cNvPr>
          <p:cNvSpPr/>
          <p:nvPr/>
        </p:nvSpPr>
        <p:spPr>
          <a:xfrm>
            <a:off x="4613143" y="3393578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EW-190 Outbound Process- Ship/Deliver Orders 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771B1A4-AD82-01F6-0121-04686CCA1AB4}"/>
              </a:ext>
            </a:extLst>
          </p:cNvPr>
          <p:cNvSpPr/>
          <p:nvPr/>
        </p:nvSpPr>
        <p:spPr>
          <a:xfrm>
            <a:off x="3916721" y="3393578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L-160</a:t>
            </a: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Manage Logistics Performance 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C047B2D-8D8F-0BD3-EB18-55E5BC9F4EAF}"/>
              </a:ext>
            </a:extLst>
          </p:cNvPr>
          <p:cNvSpPr/>
          <p:nvPr/>
        </p:nvSpPr>
        <p:spPr>
          <a:xfrm>
            <a:off x="4622414" y="2928280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450">
                <a:solidFill>
                  <a:schemeClr val="tx1"/>
                </a:solidFill>
                <a:latin typeface="+mj-lt"/>
                <a:cs typeface="Arial"/>
              </a:rPr>
              <a:t>EW-100 Inventory Control- Manage Inventory Cont.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B63A230-2FF6-93B2-974D-2E4781B50D36}"/>
              </a:ext>
            </a:extLst>
          </p:cNvPr>
          <p:cNvSpPr/>
          <p:nvPr/>
        </p:nvSpPr>
        <p:spPr>
          <a:xfrm>
            <a:off x="5318836" y="2926964"/>
            <a:ext cx="617220" cy="411480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L-110 </a:t>
            </a:r>
            <a:endParaRPr lang="en-US" sz="500">
              <a:solidFill>
                <a:schemeClr val="tx1"/>
              </a:solidFill>
              <a:latin typeface="+mj-lt"/>
            </a:endParaRPr>
          </a:p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Manage Lots/Batches &amp; Serial No.D19</a:t>
            </a:r>
            <a:endParaRPr lang="en-US" sz="5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2C8EB612-1BDD-EB26-5FFE-7280FD2CE6F2}"/>
              </a:ext>
            </a:extLst>
          </p:cNvPr>
          <p:cNvSpPr/>
          <p:nvPr/>
        </p:nvSpPr>
        <p:spPr>
          <a:xfrm>
            <a:off x="6015260" y="2462981"/>
            <a:ext cx="617220" cy="4114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54">
              <a:defRPr/>
            </a:pPr>
            <a:r>
              <a:rPr lang="en-US" sz="500">
                <a:solidFill>
                  <a:schemeClr val="tx1"/>
                </a:solidFill>
                <a:latin typeface="+mj-lt"/>
                <a:cs typeface="Arial"/>
              </a:rPr>
              <a:t>EW-110 Inventory Control- Replenishment</a:t>
            </a:r>
          </a:p>
        </p:txBody>
      </p:sp>
    </p:spTree>
    <p:extLst>
      <p:ext uri="{BB962C8B-B14F-4D97-AF65-F5344CB8AC3E}">
        <p14:creationId xmlns:p14="http://schemas.microsoft.com/office/powerpoint/2010/main" val="9419403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42B2A9-2282-CFE7-5F1A-6665F7886F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D438C-DB3B-99C4-8946-651A2EB6B2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andscape Overview</a:t>
            </a:r>
          </a:p>
        </p:txBody>
      </p:sp>
    </p:spTree>
    <p:extLst>
      <p:ext uri="{BB962C8B-B14F-4D97-AF65-F5344CB8AC3E}">
        <p14:creationId xmlns:p14="http://schemas.microsoft.com/office/powerpoint/2010/main" val="39388360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5C537-FF2C-47D0-B3B7-C73545F8A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2.2 To-Be Landscap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3C803D-0D47-4645-9680-D901DA18BA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16"/>
          <a:stretch/>
        </p:blipFill>
        <p:spPr>
          <a:xfrm>
            <a:off x="0" y="0"/>
            <a:ext cx="9144000" cy="465999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CCB89A6-0D26-452C-B2B8-2B8B1FF9E041}"/>
              </a:ext>
            </a:extLst>
          </p:cNvPr>
          <p:cNvSpPr/>
          <p:nvPr/>
        </p:nvSpPr>
        <p:spPr>
          <a:xfrm>
            <a:off x="0" y="4196781"/>
            <a:ext cx="2065283" cy="4382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48D5C3-E0A1-4A31-8E36-F8F322F5B99B}"/>
              </a:ext>
            </a:extLst>
          </p:cNvPr>
          <p:cNvSpPr txBox="1"/>
          <p:nvPr/>
        </p:nvSpPr>
        <p:spPr>
          <a:xfrm>
            <a:off x="0" y="-12210"/>
            <a:ext cx="3086100" cy="27699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600" b="1" dirty="0"/>
              <a:t>HIGH LEVEL FUTURE STATE  CONSOLIDATED SAP LANDSCAPE – GLOBAL APPS </a:t>
            </a:r>
          </a:p>
        </p:txBody>
      </p:sp>
      <p:sp>
        <p:nvSpPr>
          <p:cNvPr id="8" name="Callout: Bent Line with Accent Bar 7">
            <a:extLst>
              <a:ext uri="{FF2B5EF4-FFF2-40B4-BE49-F238E27FC236}">
                <a16:creationId xmlns:a16="http://schemas.microsoft.com/office/drawing/2014/main" id="{F42180AC-5659-4B28-89D2-5729D3DBF718}"/>
              </a:ext>
            </a:extLst>
          </p:cNvPr>
          <p:cNvSpPr/>
          <p:nvPr/>
        </p:nvSpPr>
        <p:spPr bwMode="auto">
          <a:xfrm>
            <a:off x="1767001" y="4062976"/>
            <a:ext cx="443205" cy="133805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5067"/>
              <a:gd name="adj6" fmla="val -31918"/>
            </a:avLst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r>
              <a:rPr kumimoji="0" lang="en-US" sz="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RISE</a:t>
            </a:r>
          </a:p>
        </p:txBody>
      </p:sp>
      <p:sp>
        <p:nvSpPr>
          <p:cNvPr id="9" name="Callout: Bent Line with Accent Bar 8">
            <a:extLst>
              <a:ext uri="{FF2B5EF4-FFF2-40B4-BE49-F238E27FC236}">
                <a16:creationId xmlns:a16="http://schemas.microsoft.com/office/drawing/2014/main" id="{56F7FA26-65CC-4CC2-893F-22C8A2625888}"/>
              </a:ext>
            </a:extLst>
          </p:cNvPr>
          <p:cNvSpPr/>
          <p:nvPr/>
        </p:nvSpPr>
        <p:spPr bwMode="auto">
          <a:xfrm>
            <a:off x="1215264" y="4295214"/>
            <a:ext cx="443205" cy="133805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12208"/>
              <a:gd name="adj6" fmla="val -65017"/>
            </a:avLst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</a:pPr>
            <a:r>
              <a:rPr kumimoji="0" lang="en-US" sz="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S2</a:t>
            </a:r>
          </a:p>
        </p:txBody>
      </p:sp>
    </p:spTree>
    <p:extLst>
      <p:ext uri="{BB962C8B-B14F-4D97-AF65-F5344CB8AC3E}">
        <p14:creationId xmlns:p14="http://schemas.microsoft.com/office/powerpoint/2010/main" val="4190253317"/>
      </p:ext>
    </p:extLst>
  </p:cSld>
  <p:clrMapOvr>
    <a:masterClrMapping/>
  </p:clrMapOvr>
  <p:transition spd="med"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4286A-023E-4796-9A7A-3DC9CF85E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2919"/>
            <a:ext cx="8686800" cy="633729"/>
          </a:xfrm>
        </p:spPr>
        <p:txBody>
          <a:bodyPr>
            <a:noAutofit/>
          </a:bodyPr>
          <a:lstStyle/>
          <a:p>
            <a:r>
              <a:rPr lang="en-US" sz="1800" dirty="0"/>
              <a:t>High-Level Client Strategy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957515EE-9BC9-4F94-8C23-01FE0F3DCDF3}"/>
              </a:ext>
            </a:extLst>
          </p:cNvPr>
          <p:cNvSpPr txBox="1">
            <a:spLocks/>
          </p:cNvSpPr>
          <p:nvPr/>
        </p:nvSpPr>
        <p:spPr>
          <a:xfrm>
            <a:off x="8257952" y="4809791"/>
            <a:ext cx="42884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809883E-94A3-4291-BB4A-C3A6C457874F}"/>
              </a:ext>
            </a:extLst>
          </p:cNvPr>
          <p:cNvSpPr txBox="1"/>
          <p:nvPr/>
        </p:nvSpPr>
        <p:spPr>
          <a:xfrm>
            <a:off x="1026596" y="1071341"/>
            <a:ext cx="1179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andbox</a:t>
            </a:r>
          </a:p>
        </p:txBody>
      </p:sp>
      <p:graphicFrame>
        <p:nvGraphicFramePr>
          <p:cNvPr id="13" name="Table 4">
            <a:extLst>
              <a:ext uri="{FF2B5EF4-FFF2-40B4-BE49-F238E27FC236}">
                <a16:creationId xmlns:a16="http://schemas.microsoft.com/office/drawing/2014/main" id="{6C05ABAC-D816-4155-BE0F-FF5A02A8F3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194279"/>
              </p:ext>
            </p:extLst>
          </p:nvPr>
        </p:nvGraphicFramePr>
        <p:xfrm>
          <a:off x="1099747" y="1450086"/>
          <a:ext cx="1481373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5971">
                  <a:extLst>
                    <a:ext uri="{9D8B030D-6E8A-4147-A177-3AD203B41FA5}">
                      <a16:colId xmlns:a16="http://schemas.microsoft.com/office/drawing/2014/main" val="2570030216"/>
                    </a:ext>
                  </a:extLst>
                </a:gridCol>
                <a:gridCol w="835402">
                  <a:extLst>
                    <a:ext uri="{9D8B030D-6E8A-4147-A177-3AD203B41FA5}">
                      <a16:colId xmlns:a16="http://schemas.microsoft.com/office/drawing/2014/main" val="6851614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Cli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yp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7459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1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pl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2883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2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pl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45090628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4B5DC495-67F3-4EF5-A989-AF119FE8B00F}"/>
              </a:ext>
            </a:extLst>
          </p:cNvPr>
          <p:cNvSpPr txBox="1"/>
          <p:nvPr/>
        </p:nvSpPr>
        <p:spPr>
          <a:xfrm>
            <a:off x="2619175" y="1071341"/>
            <a:ext cx="1694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evelopment</a:t>
            </a:r>
          </a:p>
        </p:txBody>
      </p:sp>
      <p:graphicFrame>
        <p:nvGraphicFramePr>
          <p:cNvPr id="16" name="Table 4">
            <a:extLst>
              <a:ext uri="{FF2B5EF4-FFF2-40B4-BE49-F238E27FC236}">
                <a16:creationId xmlns:a16="http://schemas.microsoft.com/office/drawing/2014/main" id="{926350AC-0903-49B8-A78A-CF05EE5734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2209905"/>
              </p:ext>
            </p:extLst>
          </p:nvPr>
        </p:nvGraphicFramePr>
        <p:xfrm>
          <a:off x="2692326" y="1449865"/>
          <a:ext cx="1905045" cy="194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461">
                  <a:extLst>
                    <a:ext uri="{9D8B030D-6E8A-4147-A177-3AD203B41FA5}">
                      <a16:colId xmlns:a16="http://schemas.microsoft.com/office/drawing/2014/main" val="2570030216"/>
                    </a:ext>
                  </a:extLst>
                </a:gridCol>
                <a:gridCol w="1243584">
                  <a:extLst>
                    <a:ext uri="{9D8B030D-6E8A-4147-A177-3AD203B41FA5}">
                      <a16:colId xmlns:a16="http://schemas.microsoft.com/office/drawing/2014/main" val="6851614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Cli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yp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7459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1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nfigur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2883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2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nit Te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66356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3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ata Load Te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24797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Variant Configur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4063177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76E4BE59-ED95-4270-9FFC-0D6EFDAA450C}"/>
              </a:ext>
            </a:extLst>
          </p:cNvPr>
          <p:cNvSpPr txBox="1"/>
          <p:nvPr/>
        </p:nvSpPr>
        <p:spPr>
          <a:xfrm>
            <a:off x="4726866" y="1071341"/>
            <a:ext cx="9174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QA</a:t>
            </a:r>
          </a:p>
        </p:txBody>
      </p:sp>
      <p:graphicFrame>
        <p:nvGraphicFramePr>
          <p:cNvPr id="18" name="Table 4">
            <a:extLst>
              <a:ext uri="{FF2B5EF4-FFF2-40B4-BE49-F238E27FC236}">
                <a16:creationId xmlns:a16="http://schemas.microsoft.com/office/drawing/2014/main" id="{37550804-5D21-4EF5-9E67-1E5BA00793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27219"/>
              </p:ext>
            </p:extLst>
          </p:nvPr>
        </p:nvGraphicFramePr>
        <p:xfrm>
          <a:off x="4726866" y="1445529"/>
          <a:ext cx="185932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4885">
                  <a:extLst>
                    <a:ext uri="{9D8B030D-6E8A-4147-A177-3AD203B41FA5}">
                      <a16:colId xmlns:a16="http://schemas.microsoft.com/office/drawing/2014/main" val="2570030216"/>
                    </a:ext>
                  </a:extLst>
                </a:gridCol>
                <a:gridCol w="1234440">
                  <a:extLst>
                    <a:ext uri="{9D8B030D-6E8A-4147-A177-3AD203B41FA5}">
                      <a16:colId xmlns:a16="http://schemas.microsoft.com/office/drawing/2014/main" val="6851614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Cli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yp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7459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1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nit Test / Te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2883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3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ata Load Te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3263487"/>
                  </a:ext>
                </a:extLst>
              </a:tr>
            </a:tbl>
          </a:graphicData>
        </a:graphic>
      </p:graphicFrame>
      <p:graphicFrame>
        <p:nvGraphicFramePr>
          <p:cNvPr id="21" name="Table 4">
            <a:extLst>
              <a:ext uri="{FF2B5EF4-FFF2-40B4-BE49-F238E27FC236}">
                <a16:creationId xmlns:a16="http://schemas.microsoft.com/office/drawing/2014/main" id="{2B4ACACA-F7B2-40A1-A189-30D28DA454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5601493"/>
              </p:ext>
            </p:extLst>
          </p:nvPr>
        </p:nvGraphicFramePr>
        <p:xfrm>
          <a:off x="6746170" y="1445529"/>
          <a:ext cx="1557571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742">
                  <a:extLst>
                    <a:ext uri="{9D8B030D-6E8A-4147-A177-3AD203B41FA5}">
                      <a16:colId xmlns:a16="http://schemas.microsoft.com/office/drawing/2014/main" val="2570030216"/>
                    </a:ext>
                  </a:extLst>
                </a:gridCol>
                <a:gridCol w="941829">
                  <a:extLst>
                    <a:ext uri="{9D8B030D-6E8A-4147-A177-3AD203B41FA5}">
                      <a16:colId xmlns:a16="http://schemas.microsoft.com/office/drawing/2014/main" val="6851614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Cli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yp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7459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1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du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22883090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194E0F0A-5239-413F-BBAE-BFCC260565EB}"/>
              </a:ext>
            </a:extLst>
          </p:cNvPr>
          <p:cNvSpPr txBox="1"/>
          <p:nvPr/>
        </p:nvSpPr>
        <p:spPr>
          <a:xfrm>
            <a:off x="6715686" y="1071341"/>
            <a:ext cx="13214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12945046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4286A-023E-4796-9A7A-3DC9CF85E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1800" dirty="0"/>
              <a:t>Cloud Hosted Environ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A71762-7A9B-44BF-9402-CC561F7A9C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SA is hosted in SAP RISE</a:t>
            </a:r>
          </a:p>
          <a:p>
            <a:pPr lvl="1"/>
            <a:r>
              <a:rPr lang="en-US" dirty="0"/>
              <a:t>Multitenant cloud</a:t>
            </a:r>
          </a:p>
          <a:p>
            <a:pPr lvl="1"/>
            <a:r>
              <a:rPr lang="en-US" dirty="0"/>
              <a:t>Azure EAST</a:t>
            </a:r>
          </a:p>
          <a:p>
            <a:pPr lvl="1"/>
            <a:r>
              <a:rPr lang="en-US" dirty="0"/>
              <a:t>Not suitable for ITAR / CUI organizations</a:t>
            </a:r>
          </a:p>
          <a:p>
            <a:r>
              <a:rPr lang="en-US" dirty="0"/>
              <a:t>Aero is hosted in SAP NS2</a:t>
            </a:r>
          </a:p>
          <a:p>
            <a:pPr lvl="1"/>
            <a:r>
              <a:rPr lang="en-US" dirty="0"/>
              <a:t>NS2 working towards CMMC level 3 compliance</a:t>
            </a:r>
          </a:p>
          <a:p>
            <a:pPr lvl="1"/>
            <a:r>
              <a:rPr lang="en-US" dirty="0"/>
              <a:t>Tightly regulated, adding a new integration / end point requires a ticket with NS2 that takes up to seven days to enable and requires multiple teams to properly identify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957515EE-9BC9-4F94-8C23-01FE0F3DCDF3}"/>
              </a:ext>
            </a:extLst>
          </p:cNvPr>
          <p:cNvSpPr txBox="1">
            <a:spLocks/>
          </p:cNvSpPr>
          <p:nvPr/>
        </p:nvSpPr>
        <p:spPr>
          <a:xfrm>
            <a:off x="8257952" y="4809791"/>
            <a:ext cx="42884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0306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42B2A9-2282-CFE7-5F1A-6665F7886F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D438C-DB3B-99C4-8946-651A2EB6B2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mposable Approach</a:t>
            </a:r>
          </a:p>
        </p:txBody>
      </p:sp>
    </p:spTree>
    <p:extLst>
      <p:ext uri="{BB962C8B-B14F-4D97-AF65-F5344CB8AC3E}">
        <p14:creationId xmlns:p14="http://schemas.microsoft.com/office/powerpoint/2010/main" val="40775432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D3965A0-7095-47C3-B716-30DEF0027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188" y="130488"/>
            <a:ext cx="8385419" cy="570413"/>
          </a:xfrm>
        </p:spPr>
        <p:txBody>
          <a:bodyPr vert="horz" lIns="91440" tIns="45720" rIns="91440" bIns="45720" rtlCol="0" anchor="ctr">
            <a:noAutofit/>
          </a:bodyPr>
          <a:lstStyle/>
          <a:p>
            <a:pPr defTabSz="914400"/>
            <a:r>
              <a:rPr lang="en-US" sz="1800" dirty="0"/>
              <a:t>The target composable architecture enables faster time to value through best-in-class edge solutions and simplified integration with a clean, standard ERP core.</a:t>
            </a:r>
          </a:p>
        </p:txBody>
      </p:sp>
      <p:sp>
        <p:nvSpPr>
          <p:cNvPr id="30" name="Slide Number Placeholder 1">
            <a:extLst>
              <a:ext uri="{FF2B5EF4-FFF2-40B4-BE49-F238E27FC236}">
                <a16:creationId xmlns:a16="http://schemas.microsoft.com/office/drawing/2014/main" id="{84C05187-BDB8-4B29-8AE2-3FA99F359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anchor="ctr">
            <a:normAutofit/>
          </a:bodyPr>
          <a:lstStyle/>
          <a:p>
            <a:pPr marL="0" marR="0" lvl="0" indent="0" algn="r" defTabSz="831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5"/>
              </a:spcAft>
              <a:buClrTx/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831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5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72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3C31E74-8E87-4492-BFF7-6C1CF06304EF}"/>
              </a:ext>
            </a:extLst>
          </p:cNvPr>
          <p:cNvGrpSpPr/>
          <p:nvPr/>
        </p:nvGrpSpPr>
        <p:grpSpPr>
          <a:xfrm>
            <a:off x="484910" y="941813"/>
            <a:ext cx="7953589" cy="3920006"/>
            <a:chOff x="484910" y="941813"/>
            <a:chExt cx="7953589" cy="3920006"/>
          </a:xfrm>
        </p:grpSpPr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EDE33795-3651-4539-B7EC-E52583144AB6}"/>
                </a:ext>
              </a:extLst>
            </p:cNvPr>
            <p:cNvSpPr/>
            <p:nvPr/>
          </p:nvSpPr>
          <p:spPr>
            <a:xfrm>
              <a:off x="2587691" y="4345427"/>
              <a:ext cx="3475570" cy="41881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Rectangle 235">
              <a:extLst>
                <a:ext uri="{FF2B5EF4-FFF2-40B4-BE49-F238E27FC236}">
                  <a16:creationId xmlns:a16="http://schemas.microsoft.com/office/drawing/2014/main" id="{6E92DD1A-23A9-4A6B-B87A-A1B66CD7B7BE}"/>
                </a:ext>
              </a:extLst>
            </p:cNvPr>
            <p:cNvSpPr/>
            <p:nvPr/>
          </p:nvSpPr>
          <p:spPr>
            <a:xfrm>
              <a:off x="484910" y="4386035"/>
              <a:ext cx="3475570" cy="4757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AF467AF3-9148-45A4-BBF8-953A106E0190}"/>
                </a:ext>
              </a:extLst>
            </p:cNvPr>
            <p:cNvSpPr/>
            <p:nvPr/>
          </p:nvSpPr>
          <p:spPr>
            <a:xfrm>
              <a:off x="2114707" y="3710561"/>
              <a:ext cx="2120475" cy="1071457"/>
            </a:xfrm>
            <a:prstGeom prst="rect">
              <a:avLst/>
            </a:prstGeom>
            <a:solidFill>
              <a:srgbClr val="00285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</a:t>
              </a:r>
            </a:p>
          </p:txBody>
        </p:sp>
        <p:sp>
          <p:nvSpPr>
            <p:cNvPr id="238" name="Hexagon 237">
              <a:extLst>
                <a:ext uri="{FF2B5EF4-FFF2-40B4-BE49-F238E27FC236}">
                  <a16:creationId xmlns:a16="http://schemas.microsoft.com/office/drawing/2014/main" id="{4BDCB0E2-2BA6-477D-A5F5-1B9B476A67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2557" y="3891662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9" name="Picture 10" descr="ENOVIA Reviews 2021: Details, Pricing, &amp; Features | G2">
              <a:extLst>
                <a:ext uri="{FF2B5EF4-FFF2-40B4-BE49-F238E27FC236}">
                  <a16:creationId xmlns:a16="http://schemas.microsoft.com/office/drawing/2014/main" id="{46DF35BA-554E-451B-B1F8-0B9A53C7148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393" b="24269"/>
            <a:stretch/>
          </p:blipFill>
          <p:spPr bwMode="auto">
            <a:xfrm>
              <a:off x="2296883" y="967231"/>
              <a:ext cx="386560" cy="99090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96936AF3-ADB1-40F7-8F3E-9C0A32142E68}"/>
                </a:ext>
              </a:extLst>
            </p:cNvPr>
            <p:cNvSpPr/>
            <p:nvPr/>
          </p:nvSpPr>
          <p:spPr>
            <a:xfrm>
              <a:off x="5888607" y="960059"/>
              <a:ext cx="1081041" cy="197110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B6269A02-4C8E-41BF-82A3-D25B13E740CA}"/>
                </a:ext>
              </a:extLst>
            </p:cNvPr>
            <p:cNvSpPr/>
            <p:nvPr/>
          </p:nvSpPr>
          <p:spPr>
            <a:xfrm>
              <a:off x="2098536" y="960059"/>
              <a:ext cx="770394" cy="1954831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42" name="Picture 2" descr="cdn.technologyadvice.com/wp-content/uploads/201...">
              <a:extLst>
                <a:ext uri="{FF2B5EF4-FFF2-40B4-BE49-F238E27FC236}">
                  <a16:creationId xmlns:a16="http://schemas.microsoft.com/office/drawing/2014/main" id="{CAE87A1A-6F17-415B-868B-A2B4268F0EE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49" t="18375" r="12625" b="21140"/>
            <a:stretch/>
          </p:blipFill>
          <p:spPr bwMode="auto">
            <a:xfrm>
              <a:off x="2663702" y="1884885"/>
              <a:ext cx="187239" cy="152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F0A54E39-EE22-4FEB-917D-D21AB8B34307}"/>
                </a:ext>
              </a:extLst>
            </p:cNvPr>
            <p:cNvSpPr/>
            <p:nvPr/>
          </p:nvSpPr>
          <p:spPr>
            <a:xfrm>
              <a:off x="4410735" y="4462815"/>
              <a:ext cx="2554550" cy="31920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3127" tIns="41564" rIns="83127" bIns="415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2CC23761-01D1-42DA-B7DC-B3A76FCA25DF}"/>
                </a:ext>
              </a:extLst>
            </p:cNvPr>
            <p:cNvSpPr/>
            <p:nvPr/>
          </p:nvSpPr>
          <p:spPr>
            <a:xfrm>
              <a:off x="4447584" y="960599"/>
              <a:ext cx="1361630" cy="197110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45" name="Picture 244">
              <a:extLst>
                <a:ext uri="{FF2B5EF4-FFF2-40B4-BE49-F238E27FC236}">
                  <a16:creationId xmlns:a16="http://schemas.microsoft.com/office/drawing/2014/main" id="{61F1715A-9D53-4CB6-9AED-52DAAFC9BB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21698" y="1009087"/>
              <a:ext cx="315624" cy="147291"/>
            </a:xfrm>
            <a:prstGeom prst="rect">
              <a:avLst/>
            </a:prstGeom>
          </p:spPr>
        </p:pic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91F29C8E-1E15-40D7-B406-0713BF4CAD95}"/>
                </a:ext>
              </a:extLst>
            </p:cNvPr>
            <p:cNvSpPr/>
            <p:nvPr/>
          </p:nvSpPr>
          <p:spPr>
            <a:xfrm>
              <a:off x="2989536" y="952800"/>
              <a:ext cx="1361630" cy="196209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47" name="Picture 40" descr="Company Logos - Salesforce News">
              <a:extLst>
                <a:ext uri="{FF2B5EF4-FFF2-40B4-BE49-F238E27FC236}">
                  <a16:creationId xmlns:a16="http://schemas.microsoft.com/office/drawing/2014/main" id="{DF1639D9-F7FD-48D9-B87D-E8C0415B90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549" t="18900" r="25854" b="19828"/>
            <a:stretch/>
          </p:blipFill>
          <p:spPr bwMode="auto">
            <a:xfrm>
              <a:off x="3027041" y="1207352"/>
              <a:ext cx="261107" cy="184357"/>
            </a:xfrm>
            <a:prstGeom prst="rect">
              <a:avLst/>
            </a:prstGeom>
            <a:noFill/>
          </p:spPr>
        </p:pic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63230C44-686D-4F32-B556-C93DD99B53AB}"/>
                </a:ext>
              </a:extLst>
            </p:cNvPr>
            <p:cNvSpPr/>
            <p:nvPr/>
          </p:nvSpPr>
          <p:spPr>
            <a:xfrm>
              <a:off x="7101458" y="952799"/>
              <a:ext cx="1337041" cy="1982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49" name="Straight Arrow Connector 248">
              <a:extLst>
                <a:ext uri="{FF2B5EF4-FFF2-40B4-BE49-F238E27FC236}">
                  <a16:creationId xmlns:a16="http://schemas.microsoft.com/office/drawing/2014/main" id="{45A335EC-A492-4175-B711-668F69E36B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72821" y="2917786"/>
              <a:ext cx="128636" cy="137875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0" name="Picture 30" descr="Monica Rathbun on Twitter: &quot;Mark your calendar and join us for the  @HamptonRoadSSUG first meeting of 2021 virtually, Jan 20th to hear @MMarie  talk about Practical Application of Storytelling Techniques in Power">
              <a:extLst>
                <a:ext uri="{FF2B5EF4-FFF2-40B4-BE49-F238E27FC236}">
                  <a16:creationId xmlns:a16="http://schemas.microsoft.com/office/drawing/2014/main" id="{70FEB09C-F42A-470C-87C4-3A0C5E675B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2284" y="4478996"/>
              <a:ext cx="341065" cy="229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51" name="Straight Arrow Connector 250">
              <a:extLst>
                <a:ext uri="{FF2B5EF4-FFF2-40B4-BE49-F238E27FC236}">
                  <a16:creationId xmlns:a16="http://schemas.microsoft.com/office/drawing/2014/main" id="{1D7F720C-66A8-455A-BFF8-9D0B5093F339}"/>
                </a:ext>
              </a:extLst>
            </p:cNvPr>
            <p:cNvCxnSpPr>
              <a:cxnSpLocks/>
            </p:cNvCxnSpPr>
            <p:nvPr/>
          </p:nvCxnSpPr>
          <p:spPr>
            <a:xfrm>
              <a:off x="4235181" y="3923757"/>
              <a:ext cx="181632" cy="0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636E1158-169C-4369-B773-055261C7F994}"/>
                </a:ext>
              </a:extLst>
            </p:cNvPr>
            <p:cNvSpPr/>
            <p:nvPr/>
          </p:nvSpPr>
          <p:spPr>
            <a:xfrm>
              <a:off x="2117766" y="3059433"/>
              <a:ext cx="4855055" cy="50009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plication Composition Layer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gration | Composition | Orchestration | Development | UX Development | Enterprise Messaging | AI/ML | IoT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D46AA548-647B-4E5D-9E84-746B1F79AE2E}"/>
                </a:ext>
              </a:extLst>
            </p:cNvPr>
            <p:cNvSpPr/>
            <p:nvPr/>
          </p:nvSpPr>
          <p:spPr>
            <a:xfrm>
              <a:off x="4415908" y="3711006"/>
              <a:ext cx="2556913" cy="52693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Layer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urce Data | Metadata  | Rationalization | Change Data Capture| Federated Datawarehouse | MDM</a:t>
              </a:r>
            </a:p>
          </p:txBody>
        </p:sp>
        <p:cxnSp>
          <p:nvCxnSpPr>
            <p:cNvPr id="254" name="Straight Arrow Connector 253">
              <a:extLst>
                <a:ext uri="{FF2B5EF4-FFF2-40B4-BE49-F238E27FC236}">
                  <a16:creationId xmlns:a16="http://schemas.microsoft.com/office/drawing/2014/main" id="{B5753762-E904-4B09-B6C5-54BC83FD6841}"/>
                </a:ext>
              </a:extLst>
            </p:cNvPr>
            <p:cNvCxnSpPr>
              <a:cxnSpLocks/>
            </p:cNvCxnSpPr>
            <p:nvPr/>
          </p:nvCxnSpPr>
          <p:spPr>
            <a:xfrm>
              <a:off x="5652140" y="4231213"/>
              <a:ext cx="0" cy="225213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7FA1794D-E268-429E-9A03-9AF5B38ADD42}"/>
                </a:ext>
              </a:extLst>
            </p:cNvPr>
            <p:cNvSpPr txBox="1"/>
            <p:nvPr/>
          </p:nvSpPr>
          <p:spPr>
            <a:xfrm>
              <a:off x="4818525" y="4448509"/>
              <a:ext cx="1652180" cy="316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orting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3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isualization | Self Service | Analytics</a:t>
              </a:r>
            </a:p>
          </p:txBody>
        </p:sp>
        <p:pic>
          <p:nvPicPr>
            <p:cNvPr id="256" name="Picture 32">
              <a:extLst>
                <a:ext uri="{FF2B5EF4-FFF2-40B4-BE49-F238E27FC236}">
                  <a16:creationId xmlns:a16="http://schemas.microsoft.com/office/drawing/2014/main" id="{2DD684E7-295F-406B-BE60-ADA5760706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3280" y="4528630"/>
              <a:ext cx="257608" cy="77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57" name="Straight Arrow Connector 256">
              <a:extLst>
                <a:ext uri="{FF2B5EF4-FFF2-40B4-BE49-F238E27FC236}">
                  <a16:creationId xmlns:a16="http://schemas.microsoft.com/office/drawing/2014/main" id="{390B14B2-A20C-43BE-A428-2988570DF6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37806" y="2914892"/>
              <a:ext cx="0" cy="140769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8" name="Bild 3">
              <a:extLst>
                <a:ext uri="{FF2B5EF4-FFF2-40B4-BE49-F238E27FC236}">
                  <a16:creationId xmlns:a16="http://schemas.microsoft.com/office/drawing/2014/main" id="{7AFA9B5A-CEB7-4264-AA05-D48A1B3D3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5424" y="3741196"/>
              <a:ext cx="276881" cy="136595"/>
            </a:xfrm>
            <a:prstGeom prst="rect">
              <a:avLst/>
            </a:prstGeom>
          </p:spPr>
        </p:pic>
        <p:pic>
          <p:nvPicPr>
            <p:cNvPr id="259" name="Picture 26" descr="Cloudera | The Hybrid Data Cloud Company">
              <a:extLst>
                <a:ext uri="{FF2B5EF4-FFF2-40B4-BE49-F238E27FC236}">
                  <a16:creationId xmlns:a16="http://schemas.microsoft.com/office/drawing/2014/main" id="{85B5BCDC-D54A-4CF2-BC04-4CA393FC29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77" t="40254" r="14093" b="40648"/>
            <a:stretch/>
          </p:blipFill>
          <p:spPr bwMode="auto">
            <a:xfrm>
              <a:off x="4757942" y="4154975"/>
              <a:ext cx="346732" cy="48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12BD4AD8-E104-419C-936F-2EE4091D6514}"/>
                </a:ext>
              </a:extLst>
            </p:cNvPr>
            <p:cNvSpPr txBox="1"/>
            <p:nvPr/>
          </p:nvSpPr>
          <p:spPr>
            <a:xfrm>
              <a:off x="4401045" y="4614139"/>
              <a:ext cx="428322" cy="1762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5" b="1" i="0" u="none" strike="noStrike" kern="1200" cap="none" spc="0" normalizeH="0" baseline="0" noProof="0" dirty="0">
                  <a:ln>
                    <a:noFill/>
                  </a:ln>
                  <a:solidFill>
                    <a:srgbClr val="005EB8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thers…</a:t>
              </a:r>
            </a:p>
          </p:txBody>
        </p: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4D63E76D-A251-4683-8CA8-38D75994A570}"/>
                </a:ext>
              </a:extLst>
            </p:cNvPr>
            <p:cNvSpPr txBox="1"/>
            <p:nvPr/>
          </p:nvSpPr>
          <p:spPr>
            <a:xfrm>
              <a:off x="6312599" y="4095462"/>
              <a:ext cx="428322" cy="1762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5" b="1" i="0" u="none" strike="noStrike" kern="1200" cap="none" spc="0" normalizeH="0" baseline="0" noProof="0" dirty="0">
                  <a:ln>
                    <a:noFill/>
                  </a:ln>
                  <a:solidFill>
                    <a:srgbClr val="005EB8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thers…</a:t>
              </a:r>
            </a:p>
          </p:txBody>
        </p:sp>
        <p:pic>
          <p:nvPicPr>
            <p:cNvPr id="262" name="Bild 3">
              <a:extLst>
                <a:ext uri="{FF2B5EF4-FFF2-40B4-BE49-F238E27FC236}">
                  <a16:creationId xmlns:a16="http://schemas.microsoft.com/office/drawing/2014/main" id="{8CA3B402-FAF2-41FB-8756-03AC9DD69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773" y="3390982"/>
              <a:ext cx="249382" cy="123029"/>
            </a:xfrm>
            <a:prstGeom prst="rect">
              <a:avLst/>
            </a:prstGeom>
          </p:spPr>
        </p:pic>
        <p:pic>
          <p:nvPicPr>
            <p:cNvPr id="263" name="Picture 12">
              <a:extLst>
                <a:ext uri="{FF2B5EF4-FFF2-40B4-BE49-F238E27FC236}">
                  <a16:creationId xmlns:a16="http://schemas.microsoft.com/office/drawing/2014/main" id="{2ED36BDE-E2EB-4C3A-9E30-BA0494EFB1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4872" y="3398854"/>
              <a:ext cx="311727" cy="107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4" name="Picture 28" descr="Informatica – Bloor Research">
              <a:extLst>
                <a:ext uri="{FF2B5EF4-FFF2-40B4-BE49-F238E27FC236}">
                  <a16:creationId xmlns:a16="http://schemas.microsoft.com/office/drawing/2014/main" id="{50E49C33-6632-4E9D-B92B-B403A0C80D8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991" t="34246" r="13696" b="34734"/>
            <a:stretch/>
          </p:blipFill>
          <p:spPr bwMode="auto">
            <a:xfrm>
              <a:off x="5082575" y="3368357"/>
              <a:ext cx="607317" cy="168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65" name="Straight Arrow Connector 264">
              <a:extLst>
                <a:ext uri="{FF2B5EF4-FFF2-40B4-BE49-F238E27FC236}">
                  <a16:creationId xmlns:a16="http://schemas.microsoft.com/office/drawing/2014/main" id="{033FC8D9-2D6A-416A-BB7B-F748E5487013}"/>
                </a:ext>
              </a:extLst>
            </p:cNvPr>
            <p:cNvCxnSpPr>
              <a:cxnSpLocks/>
            </p:cNvCxnSpPr>
            <p:nvPr/>
          </p:nvCxnSpPr>
          <p:spPr>
            <a:xfrm>
              <a:off x="5637404" y="3546501"/>
              <a:ext cx="0" cy="176076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57A9D9BB-314F-405B-8300-3E1A452A86AD}"/>
                </a:ext>
              </a:extLst>
            </p:cNvPr>
            <p:cNvSpPr/>
            <p:nvPr/>
          </p:nvSpPr>
          <p:spPr>
            <a:xfrm>
              <a:off x="2036415" y="3622756"/>
              <a:ext cx="172842" cy="2034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pic>
          <p:nvPicPr>
            <p:cNvPr id="267" name="Picture 6" descr="ThingWorx SCO Academic &#10;Teaching License">
              <a:extLst>
                <a:ext uri="{FF2B5EF4-FFF2-40B4-BE49-F238E27FC236}">
                  <a16:creationId xmlns:a16="http://schemas.microsoft.com/office/drawing/2014/main" id="{E6E04EB3-8169-400D-80CF-061789AECD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9205" y="2381761"/>
              <a:ext cx="484909" cy="155171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8" name="TextBox 267">
              <a:extLst>
                <a:ext uri="{FF2B5EF4-FFF2-40B4-BE49-F238E27FC236}">
                  <a16:creationId xmlns:a16="http://schemas.microsoft.com/office/drawing/2014/main" id="{61C9C05D-159E-4DDA-8E7D-2BE1A2F63DFF}"/>
                </a:ext>
              </a:extLst>
            </p:cNvPr>
            <p:cNvSpPr txBox="1"/>
            <p:nvPr/>
          </p:nvSpPr>
          <p:spPr>
            <a:xfrm>
              <a:off x="2143207" y="2744496"/>
              <a:ext cx="697627" cy="21820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gineering</a:t>
              </a:r>
            </a:p>
          </p:txBody>
        </p: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8966E9A7-F7F1-449B-8D28-A005F5DF5AD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37345" y="1910656"/>
              <a:ext cx="548548" cy="410500"/>
              <a:chOff x="737497" y="1322934"/>
              <a:chExt cx="662165" cy="495525"/>
            </a:xfrm>
          </p:grpSpPr>
          <p:sp>
            <p:nvSpPr>
              <p:cNvPr id="270" name="Hexagon 269">
                <a:extLst>
                  <a:ext uri="{FF2B5EF4-FFF2-40B4-BE49-F238E27FC236}">
                    <a16:creationId xmlns:a16="http://schemas.microsoft.com/office/drawing/2014/main" id="{1B616D2E-3B5F-4B23-9607-4F4E3D0037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5357" y="1322934"/>
                <a:ext cx="574807" cy="495525"/>
              </a:xfrm>
              <a:prstGeom prst="hexagon">
                <a:avLst/>
              </a:prstGeom>
              <a:solidFill>
                <a:srgbClr val="059D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1" name="TextBox 270">
                <a:extLst>
                  <a:ext uri="{FF2B5EF4-FFF2-40B4-BE49-F238E27FC236}">
                    <a16:creationId xmlns:a16="http://schemas.microsoft.com/office/drawing/2014/main" id="{3BE9F8F3-6D30-406E-9B22-D4B9037FADE7}"/>
                  </a:ext>
                </a:extLst>
              </p:cNvPr>
              <p:cNvSpPr txBox="1"/>
              <p:nvPr/>
            </p:nvSpPr>
            <p:spPr>
              <a:xfrm>
                <a:off x="737497" y="1419024"/>
                <a:ext cx="662165" cy="2805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5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Digital</a:t>
                </a:r>
              </a:p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5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anufacturing</a:t>
                </a:r>
              </a:p>
            </p:txBody>
          </p:sp>
        </p:grpSp>
        <p:pic>
          <p:nvPicPr>
            <p:cNvPr id="272" name="Picture 44" descr="FaciliWorks_8i_Help_System_8.7.003">
              <a:extLst>
                <a:ext uri="{FF2B5EF4-FFF2-40B4-BE49-F238E27FC236}">
                  <a16:creationId xmlns:a16="http://schemas.microsoft.com/office/drawing/2014/main" id="{2D9382C8-94D8-430D-8A72-6AEAEC22B97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305" b="6396"/>
            <a:stretch/>
          </p:blipFill>
          <p:spPr bwMode="auto">
            <a:xfrm>
              <a:off x="5919026" y="1386307"/>
              <a:ext cx="420997" cy="1336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60560A5E-E779-49EF-84AF-88745878599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72526" y="1701053"/>
              <a:ext cx="476178" cy="410500"/>
              <a:chOff x="785357" y="1322934"/>
              <a:chExt cx="574807" cy="495525"/>
            </a:xfrm>
          </p:grpSpPr>
          <p:sp>
            <p:nvSpPr>
              <p:cNvPr id="274" name="Hexagon 273">
                <a:extLst>
                  <a:ext uri="{FF2B5EF4-FFF2-40B4-BE49-F238E27FC236}">
                    <a16:creationId xmlns:a16="http://schemas.microsoft.com/office/drawing/2014/main" id="{5CCA25DF-641A-4531-BC18-0294DD33ABB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5357" y="1322934"/>
                <a:ext cx="574807" cy="495525"/>
              </a:xfrm>
              <a:prstGeom prst="hexagon">
                <a:avLst/>
              </a:prstGeom>
              <a:solidFill>
                <a:srgbClr val="059D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5" name="TextBox 274">
                <a:extLst>
                  <a:ext uri="{FF2B5EF4-FFF2-40B4-BE49-F238E27FC236}">
                    <a16:creationId xmlns:a16="http://schemas.microsoft.com/office/drawing/2014/main" id="{6F0AACD2-FA21-49C3-93F4-6BBE5F2A11FD}"/>
                  </a:ext>
                </a:extLst>
              </p:cNvPr>
              <p:cNvSpPr txBox="1"/>
              <p:nvPr/>
            </p:nvSpPr>
            <p:spPr>
              <a:xfrm>
                <a:off x="789744" y="1439197"/>
                <a:ext cx="557675" cy="2805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5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quipment</a:t>
                </a:r>
              </a:p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5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onitoring</a:t>
                </a:r>
              </a:p>
            </p:txBody>
          </p:sp>
        </p:grpSp>
        <p:pic>
          <p:nvPicPr>
            <p:cNvPr id="276" name="Picture 46" descr="Software to Automate Plant Floor Audits and Insights - EASE, Inc.">
              <a:extLst>
                <a:ext uri="{FF2B5EF4-FFF2-40B4-BE49-F238E27FC236}">
                  <a16:creationId xmlns:a16="http://schemas.microsoft.com/office/drawing/2014/main" id="{07321755-99D0-4CEF-80F6-11B0BD9425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1584" y="1187486"/>
              <a:ext cx="241589" cy="561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F30D4F6E-488E-47A8-82C6-A52EB75CF5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77731" y="2132665"/>
              <a:ext cx="476178" cy="410500"/>
              <a:chOff x="2874408" y="2177744"/>
              <a:chExt cx="574807" cy="495525"/>
            </a:xfrm>
          </p:grpSpPr>
          <p:sp>
            <p:nvSpPr>
              <p:cNvPr id="278" name="Hexagon 277">
                <a:extLst>
                  <a:ext uri="{FF2B5EF4-FFF2-40B4-BE49-F238E27FC236}">
                    <a16:creationId xmlns:a16="http://schemas.microsoft.com/office/drawing/2014/main" id="{83A1C43C-EBC3-4352-AA8C-6F386928FAF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4408" y="2177744"/>
                <a:ext cx="574807" cy="495525"/>
              </a:xfrm>
              <a:prstGeom prst="hexagon">
                <a:avLst/>
              </a:prstGeom>
              <a:solidFill>
                <a:srgbClr val="059D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9" name="TextBox 278">
                <a:extLst>
                  <a:ext uri="{FF2B5EF4-FFF2-40B4-BE49-F238E27FC236}">
                    <a16:creationId xmlns:a16="http://schemas.microsoft.com/office/drawing/2014/main" id="{D43FC674-5B27-4044-AD24-CA73C5D90CAF}"/>
                  </a:ext>
                </a:extLst>
              </p:cNvPr>
              <p:cNvSpPr txBox="1"/>
              <p:nvPr/>
            </p:nvSpPr>
            <p:spPr>
              <a:xfrm>
                <a:off x="2926946" y="2332426"/>
                <a:ext cx="474469" cy="1959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5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Others…</a:t>
                </a:r>
              </a:p>
            </p:txBody>
          </p:sp>
        </p:grpSp>
        <p:pic>
          <p:nvPicPr>
            <p:cNvPr id="280" name="Picture 48" descr="SPC Software | Quality Control Software | InfinityQS">
              <a:extLst>
                <a:ext uri="{FF2B5EF4-FFF2-40B4-BE49-F238E27FC236}">
                  <a16:creationId xmlns:a16="http://schemas.microsoft.com/office/drawing/2014/main" id="{A54E5D57-0A62-4E2F-ADED-7C75D8CD50C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4452"/>
            <a:stretch/>
          </p:blipFill>
          <p:spPr bwMode="auto">
            <a:xfrm>
              <a:off x="6380018" y="1077525"/>
              <a:ext cx="332509" cy="76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81" name="Group 280">
              <a:extLst>
                <a:ext uri="{FF2B5EF4-FFF2-40B4-BE49-F238E27FC236}">
                  <a16:creationId xmlns:a16="http://schemas.microsoft.com/office/drawing/2014/main" id="{0491A999-7D32-44CA-90F6-1E524E1B685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78403" y="1270894"/>
              <a:ext cx="476179" cy="410500"/>
              <a:chOff x="2875756" y="1154280"/>
              <a:chExt cx="574807" cy="495525"/>
            </a:xfrm>
          </p:grpSpPr>
          <p:sp>
            <p:nvSpPr>
              <p:cNvPr id="282" name="Hexagon 281">
                <a:extLst>
                  <a:ext uri="{FF2B5EF4-FFF2-40B4-BE49-F238E27FC236}">
                    <a16:creationId xmlns:a16="http://schemas.microsoft.com/office/drawing/2014/main" id="{90E0F602-05A8-4774-AC83-7AF7138540A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5756" y="1154280"/>
                <a:ext cx="574807" cy="495525"/>
              </a:xfrm>
              <a:prstGeom prst="hexagon">
                <a:avLst/>
              </a:prstGeom>
              <a:solidFill>
                <a:srgbClr val="059D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3" name="TextBox 282">
                <a:extLst>
                  <a:ext uri="{FF2B5EF4-FFF2-40B4-BE49-F238E27FC236}">
                    <a16:creationId xmlns:a16="http://schemas.microsoft.com/office/drawing/2014/main" id="{788BDCE1-E45D-4B35-9EE8-C6D6614A1652}"/>
                  </a:ext>
                </a:extLst>
              </p:cNvPr>
              <p:cNvSpPr txBox="1"/>
              <p:nvPr/>
            </p:nvSpPr>
            <p:spPr>
              <a:xfrm>
                <a:off x="2942674" y="1301757"/>
                <a:ext cx="437703" cy="1959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5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Quality</a:t>
                </a:r>
              </a:p>
            </p:txBody>
          </p:sp>
        </p:grpSp>
        <p:grpSp>
          <p:nvGrpSpPr>
            <p:cNvPr id="284" name="Group 283">
              <a:extLst>
                <a:ext uri="{FF2B5EF4-FFF2-40B4-BE49-F238E27FC236}">
                  <a16:creationId xmlns:a16="http://schemas.microsoft.com/office/drawing/2014/main" id="{7AA511CB-DB07-4628-8039-44B92F77B88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72772" y="1479044"/>
              <a:ext cx="506870" cy="410500"/>
              <a:chOff x="2390362" y="1403716"/>
              <a:chExt cx="611856" cy="495525"/>
            </a:xfrm>
          </p:grpSpPr>
          <p:sp>
            <p:nvSpPr>
              <p:cNvPr id="285" name="Hexagon 284">
                <a:extLst>
                  <a:ext uri="{FF2B5EF4-FFF2-40B4-BE49-F238E27FC236}">
                    <a16:creationId xmlns:a16="http://schemas.microsoft.com/office/drawing/2014/main" id="{7F608A86-88A9-4E7D-8A2F-A8A2786CDA5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02995" y="1403716"/>
                <a:ext cx="574807" cy="495525"/>
              </a:xfrm>
              <a:prstGeom prst="hexagon">
                <a:avLst/>
              </a:prstGeom>
              <a:solidFill>
                <a:srgbClr val="059D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6" name="TextBox 285">
                <a:extLst>
                  <a:ext uri="{FF2B5EF4-FFF2-40B4-BE49-F238E27FC236}">
                    <a16:creationId xmlns:a16="http://schemas.microsoft.com/office/drawing/2014/main" id="{DB7E8B0B-903B-4045-9409-1CECDB83316F}"/>
                  </a:ext>
                </a:extLst>
              </p:cNvPr>
              <p:cNvSpPr txBox="1"/>
              <p:nvPr/>
            </p:nvSpPr>
            <p:spPr>
              <a:xfrm>
                <a:off x="2390362" y="1505197"/>
                <a:ext cx="611856" cy="2805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5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lant</a:t>
                </a:r>
              </a:p>
              <a:p>
                <a:pPr marL="0" marR="0" lvl="0" indent="0" algn="ctr" defTabSz="2077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5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aintenance</a:t>
                </a:r>
              </a:p>
            </p:txBody>
          </p:sp>
        </p:grpSp>
        <p:sp>
          <p:nvSpPr>
            <p:cNvPr id="287" name="Hexagon 286">
              <a:extLst>
                <a:ext uri="{FF2B5EF4-FFF2-40B4-BE49-F238E27FC236}">
                  <a16:creationId xmlns:a16="http://schemas.microsoft.com/office/drawing/2014/main" id="{3A9BA2BA-C6A2-42C0-BEE0-56FCDE9EF2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55668" y="1499072"/>
              <a:ext cx="476178" cy="410500"/>
            </a:xfrm>
            <a:prstGeom prst="hexagon">
              <a:avLst/>
            </a:prstGeom>
            <a:solidFill>
              <a:srgbClr val="059D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219F2DDF-5799-4D5B-8CC2-802B51E86804}"/>
                </a:ext>
              </a:extLst>
            </p:cNvPr>
            <p:cNvSpPr txBox="1"/>
            <p:nvPr/>
          </p:nvSpPr>
          <p:spPr>
            <a:xfrm>
              <a:off x="2323659" y="1621320"/>
              <a:ext cx="348173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sign</a:t>
              </a:r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C054F1A7-CB7D-431E-A65B-A63D8F68484E}"/>
                </a:ext>
              </a:extLst>
            </p:cNvPr>
            <p:cNvSpPr/>
            <p:nvPr/>
          </p:nvSpPr>
          <p:spPr>
            <a:xfrm>
              <a:off x="7124478" y="3055661"/>
              <a:ext cx="1314021" cy="172635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6AAB0CF7-315A-4B2F-9266-283F2EAE47E7}"/>
                </a:ext>
              </a:extLst>
            </p:cNvPr>
            <p:cNvSpPr txBox="1"/>
            <p:nvPr/>
          </p:nvSpPr>
          <p:spPr>
            <a:xfrm>
              <a:off x="7519560" y="4610084"/>
              <a:ext cx="518092" cy="21820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inance</a:t>
              </a:r>
            </a:p>
          </p:txBody>
        </p:sp>
        <p:sp>
          <p:nvSpPr>
            <p:cNvPr id="291" name="Hexagon 290">
              <a:extLst>
                <a:ext uri="{FF2B5EF4-FFF2-40B4-BE49-F238E27FC236}">
                  <a16:creationId xmlns:a16="http://schemas.microsoft.com/office/drawing/2014/main" id="{B870F4DC-D21C-473C-8EF7-BD26FA2A41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62843" y="4012819"/>
              <a:ext cx="476178" cy="410500"/>
            </a:xfrm>
            <a:prstGeom prst="hexagon">
              <a:avLst/>
            </a:prstGeom>
            <a:solidFill>
              <a:srgbClr val="418F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AC3A929F-3252-4989-9CDF-4FDCD8E8752E}"/>
                </a:ext>
              </a:extLst>
            </p:cNvPr>
            <p:cNvSpPr txBox="1"/>
            <p:nvPr/>
          </p:nvSpPr>
          <p:spPr>
            <a:xfrm>
              <a:off x="7414151" y="4102719"/>
              <a:ext cx="388248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vel &amp;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xpense</a:t>
              </a:r>
            </a:p>
          </p:txBody>
        </p:sp>
        <p:sp>
          <p:nvSpPr>
            <p:cNvPr id="293" name="Hexagon 292">
              <a:extLst>
                <a:ext uri="{FF2B5EF4-FFF2-40B4-BE49-F238E27FC236}">
                  <a16:creationId xmlns:a16="http://schemas.microsoft.com/office/drawing/2014/main" id="{E6F9EFBC-241E-4DE9-9613-213C52B90A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58375" y="3795299"/>
              <a:ext cx="476178" cy="410500"/>
            </a:xfrm>
            <a:prstGeom prst="hexagon">
              <a:avLst/>
            </a:prstGeom>
            <a:solidFill>
              <a:srgbClr val="418F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C2E4837B-C41C-4EC7-8476-0E21C3B23875}"/>
                </a:ext>
              </a:extLst>
            </p:cNvPr>
            <p:cNvSpPr txBox="1"/>
            <p:nvPr/>
          </p:nvSpPr>
          <p:spPr>
            <a:xfrm>
              <a:off x="7858188" y="3922632"/>
              <a:ext cx="269626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ax</a:t>
              </a:r>
            </a:p>
          </p:txBody>
        </p:sp>
        <p:sp>
          <p:nvSpPr>
            <p:cNvPr id="295" name="Hexagon 294">
              <a:extLst>
                <a:ext uri="{FF2B5EF4-FFF2-40B4-BE49-F238E27FC236}">
                  <a16:creationId xmlns:a16="http://schemas.microsoft.com/office/drawing/2014/main" id="{47C12E14-302A-4096-823C-7FDD9A0924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56350" y="4231671"/>
              <a:ext cx="476178" cy="410500"/>
            </a:xfrm>
            <a:prstGeom prst="hexagon">
              <a:avLst/>
            </a:prstGeom>
            <a:solidFill>
              <a:srgbClr val="418F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4200E951-9016-470B-8912-C91EE5BFB38D}"/>
                </a:ext>
              </a:extLst>
            </p:cNvPr>
            <p:cNvSpPr txBox="1"/>
            <p:nvPr/>
          </p:nvSpPr>
          <p:spPr>
            <a:xfrm>
              <a:off x="7799872" y="4359811"/>
              <a:ext cx="393057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thers…</a:t>
              </a:r>
            </a:p>
          </p:txBody>
        </p:sp>
        <p:sp>
          <p:nvSpPr>
            <p:cNvPr id="297" name="Hexagon 296">
              <a:extLst>
                <a:ext uri="{FF2B5EF4-FFF2-40B4-BE49-F238E27FC236}">
                  <a16:creationId xmlns:a16="http://schemas.microsoft.com/office/drawing/2014/main" id="{0D96CCE6-503C-44E3-A538-6E76515678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64251" y="3365140"/>
              <a:ext cx="476178" cy="410500"/>
            </a:xfrm>
            <a:prstGeom prst="hexagon">
              <a:avLst/>
            </a:prstGeom>
            <a:solidFill>
              <a:srgbClr val="418F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00C96DC2-0B33-408F-8034-4E3AE55EC070}"/>
                </a:ext>
              </a:extLst>
            </p:cNvPr>
            <p:cNvSpPr txBox="1"/>
            <p:nvPr/>
          </p:nvSpPr>
          <p:spPr>
            <a:xfrm>
              <a:off x="7802857" y="3487312"/>
              <a:ext cx="396262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easury</a:t>
              </a:r>
            </a:p>
          </p:txBody>
        </p:sp>
        <p:sp>
          <p:nvSpPr>
            <p:cNvPr id="299" name="Hexagon 298">
              <a:extLst>
                <a:ext uri="{FF2B5EF4-FFF2-40B4-BE49-F238E27FC236}">
                  <a16:creationId xmlns:a16="http://schemas.microsoft.com/office/drawing/2014/main" id="{5F5AAE47-7FC0-43A5-BDC8-3C6FC790B3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69086" y="3573289"/>
              <a:ext cx="476178" cy="410500"/>
            </a:xfrm>
            <a:prstGeom prst="hexagon">
              <a:avLst/>
            </a:prstGeom>
            <a:solidFill>
              <a:srgbClr val="418F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AAF3D6BA-9FE7-4DF0-A573-B141438DA467}"/>
                </a:ext>
              </a:extLst>
            </p:cNvPr>
            <p:cNvSpPr txBox="1"/>
            <p:nvPr/>
          </p:nvSpPr>
          <p:spPr>
            <a:xfrm>
              <a:off x="7429559" y="3699032"/>
              <a:ext cx="369012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 / AR</a:t>
              </a:r>
            </a:p>
          </p:txBody>
        </p:sp>
        <p:sp>
          <p:nvSpPr>
            <p:cNvPr id="301" name="Hexagon 300">
              <a:extLst>
                <a:ext uri="{FF2B5EF4-FFF2-40B4-BE49-F238E27FC236}">
                  <a16:creationId xmlns:a16="http://schemas.microsoft.com/office/drawing/2014/main" id="{7ED14245-5F1D-4883-A64D-4DD19EA509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68269" y="3146777"/>
              <a:ext cx="476178" cy="410500"/>
            </a:xfrm>
            <a:prstGeom prst="hexagon">
              <a:avLst/>
            </a:prstGeom>
            <a:solidFill>
              <a:srgbClr val="418F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1BD05A10-D8B9-466B-8E1C-B05DEEF27718}"/>
                </a:ext>
              </a:extLst>
            </p:cNvPr>
            <p:cNvSpPr txBox="1"/>
            <p:nvPr/>
          </p:nvSpPr>
          <p:spPr>
            <a:xfrm>
              <a:off x="7354298" y="3239430"/>
              <a:ext cx="524504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orting &amp;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solidation</a:t>
              </a:r>
            </a:p>
          </p:txBody>
        </p:sp>
        <p:pic>
          <p:nvPicPr>
            <p:cNvPr id="303" name="Picture 302">
              <a:extLst>
                <a:ext uri="{FF2B5EF4-FFF2-40B4-BE49-F238E27FC236}">
                  <a16:creationId xmlns:a16="http://schemas.microsoft.com/office/drawing/2014/main" id="{238E362F-33BA-4FD6-A217-B5CF44A7A7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 rot="5400000">
              <a:off x="8093911" y="3961895"/>
              <a:ext cx="406977" cy="72345"/>
            </a:xfrm>
            <a:prstGeom prst="rect">
              <a:avLst/>
            </a:prstGeom>
          </p:spPr>
        </p:pic>
        <p:pic>
          <p:nvPicPr>
            <p:cNvPr id="304" name="Picture 6" descr="Oracle logo and symbol, meaning, history, PNG">
              <a:extLst>
                <a:ext uri="{FF2B5EF4-FFF2-40B4-BE49-F238E27FC236}">
                  <a16:creationId xmlns:a16="http://schemas.microsoft.com/office/drawing/2014/main" id="{2EBC2818-D69A-4C5A-8509-720F6FED2F0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820" b="34616"/>
            <a:stretch/>
          </p:blipFill>
          <p:spPr bwMode="auto">
            <a:xfrm>
              <a:off x="7848728" y="3266948"/>
              <a:ext cx="337705" cy="55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5" name="Picture 304">
              <a:extLst>
                <a:ext uri="{FF2B5EF4-FFF2-40B4-BE49-F238E27FC236}">
                  <a16:creationId xmlns:a16="http://schemas.microsoft.com/office/drawing/2014/main" id="{CB6F8B50-B41B-4334-8774-416ABF87B1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306173" y="4470674"/>
              <a:ext cx="389092" cy="69827"/>
            </a:xfrm>
            <a:prstGeom prst="rect">
              <a:avLst/>
            </a:prstGeom>
          </p:spPr>
        </p:pic>
        <p:pic>
          <p:nvPicPr>
            <p:cNvPr id="306" name="Picture 8" descr="Welcome to Serrala – Driving the Future of Finance">
              <a:extLst>
                <a:ext uri="{FF2B5EF4-FFF2-40B4-BE49-F238E27FC236}">
                  <a16:creationId xmlns:a16="http://schemas.microsoft.com/office/drawing/2014/main" id="{78D0169C-C0BE-428B-B22C-9B8BB8BA04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7129576" y="3725598"/>
              <a:ext cx="262890" cy="1304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" name="Picture 6" descr="Oracle logo and symbol, meaning, history, PNG">
              <a:extLst>
                <a:ext uri="{FF2B5EF4-FFF2-40B4-BE49-F238E27FC236}">
                  <a16:creationId xmlns:a16="http://schemas.microsoft.com/office/drawing/2014/main" id="{73418198-E8A1-45A7-9984-0B4822339F1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820" b="34616"/>
            <a:stretch/>
          </p:blipFill>
          <p:spPr bwMode="auto">
            <a:xfrm rot="16200000">
              <a:off x="7114188" y="3318025"/>
              <a:ext cx="337705" cy="55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9E49C8F3-AA45-464F-B0B6-41AD72BFADCE}"/>
                </a:ext>
              </a:extLst>
            </p:cNvPr>
            <p:cNvSpPr txBox="1"/>
            <p:nvPr/>
          </p:nvSpPr>
          <p:spPr>
            <a:xfrm>
              <a:off x="7362643" y="2753337"/>
              <a:ext cx="852155" cy="218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ield Service</a:t>
              </a:r>
            </a:p>
          </p:txBody>
        </p:sp>
        <p:pic>
          <p:nvPicPr>
            <p:cNvPr id="309" name="Picture 40" descr="Company Logos - Salesforce News">
              <a:extLst>
                <a:ext uri="{FF2B5EF4-FFF2-40B4-BE49-F238E27FC236}">
                  <a16:creationId xmlns:a16="http://schemas.microsoft.com/office/drawing/2014/main" id="{0122C089-89BC-4081-82EF-C5A4A76E0A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549" t="18900" r="25854" b="19828"/>
            <a:stretch/>
          </p:blipFill>
          <p:spPr bwMode="auto">
            <a:xfrm>
              <a:off x="7508348" y="1031733"/>
              <a:ext cx="351811" cy="2483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0" name="Hexagon 309">
              <a:extLst>
                <a:ext uri="{FF2B5EF4-FFF2-40B4-BE49-F238E27FC236}">
                  <a16:creationId xmlns:a16="http://schemas.microsoft.com/office/drawing/2014/main" id="{30EAE76C-75C8-454D-8FEC-D33A29E60B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20428" y="1523450"/>
              <a:ext cx="476178" cy="410500"/>
            </a:xfrm>
            <a:prstGeom prst="hexagon">
              <a:avLst/>
            </a:prstGeom>
            <a:solidFill>
              <a:srgbClr val="179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CCB336E2-857A-4B37-B700-3D97EF2BDF25}"/>
                </a:ext>
              </a:extLst>
            </p:cNvPr>
            <p:cNvSpPr txBox="1"/>
            <p:nvPr/>
          </p:nvSpPr>
          <p:spPr>
            <a:xfrm>
              <a:off x="7312871" y="1616103"/>
              <a:ext cx="511679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tall Bas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12" name="Hexagon 311">
              <a:extLst>
                <a:ext uri="{FF2B5EF4-FFF2-40B4-BE49-F238E27FC236}">
                  <a16:creationId xmlns:a16="http://schemas.microsoft.com/office/drawing/2014/main" id="{61E0FF11-DB4F-4D01-BDBC-62EC9C7F5C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20926" y="1958633"/>
              <a:ext cx="476178" cy="410500"/>
            </a:xfrm>
            <a:prstGeom prst="hexagon">
              <a:avLst/>
            </a:prstGeom>
            <a:solidFill>
              <a:srgbClr val="179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73F58497-B7C9-4579-8642-BED84A4276A5}"/>
                </a:ext>
              </a:extLst>
            </p:cNvPr>
            <p:cNvSpPr txBox="1"/>
            <p:nvPr/>
          </p:nvSpPr>
          <p:spPr>
            <a:xfrm>
              <a:off x="7307164" y="2045082"/>
              <a:ext cx="511679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rvic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14" name="Hexagon 313">
              <a:extLst>
                <a:ext uri="{FF2B5EF4-FFF2-40B4-BE49-F238E27FC236}">
                  <a16:creationId xmlns:a16="http://schemas.microsoft.com/office/drawing/2014/main" id="{2DD5C710-A851-4FD7-B517-05E6D222CB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04225" y="1052475"/>
              <a:ext cx="476178" cy="410500"/>
            </a:xfrm>
            <a:prstGeom prst="hexagon">
              <a:avLst/>
            </a:prstGeom>
            <a:solidFill>
              <a:srgbClr val="2B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669AA6EF-FDAD-4CA5-A20A-4B394A0DCCC3}"/>
                </a:ext>
              </a:extLst>
            </p:cNvPr>
            <p:cNvSpPr txBox="1"/>
            <p:nvPr/>
          </p:nvSpPr>
          <p:spPr>
            <a:xfrm>
              <a:off x="3586475" y="1114109"/>
              <a:ext cx="511679" cy="3023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rketing 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amp; Lead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16" name="Hexagon 315">
              <a:extLst>
                <a:ext uri="{FF2B5EF4-FFF2-40B4-BE49-F238E27FC236}">
                  <a16:creationId xmlns:a16="http://schemas.microsoft.com/office/drawing/2014/main" id="{85249D79-B103-4F23-9E61-08922C64E0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3105" y="1259326"/>
              <a:ext cx="476178" cy="410500"/>
            </a:xfrm>
            <a:prstGeom prst="hexagon">
              <a:avLst/>
            </a:prstGeom>
            <a:solidFill>
              <a:srgbClr val="2B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3422A1C1-04C1-4466-8457-3A5B07547488}"/>
                </a:ext>
              </a:extLst>
            </p:cNvPr>
            <p:cNvSpPr txBox="1"/>
            <p:nvPr/>
          </p:nvSpPr>
          <p:spPr>
            <a:xfrm>
              <a:off x="3195355" y="1320961"/>
              <a:ext cx="511679" cy="3023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ustomer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lationship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18" name="Hexagon 317">
              <a:extLst>
                <a:ext uri="{FF2B5EF4-FFF2-40B4-BE49-F238E27FC236}">
                  <a16:creationId xmlns:a16="http://schemas.microsoft.com/office/drawing/2014/main" id="{26431865-FD94-478A-A931-4E8B679267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04225" y="1482776"/>
              <a:ext cx="476178" cy="410500"/>
            </a:xfrm>
            <a:prstGeom prst="hexagon">
              <a:avLst/>
            </a:prstGeom>
            <a:solidFill>
              <a:srgbClr val="2B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02E2684F-CF8A-4A9A-9A17-2DB5D3ED9994}"/>
                </a:ext>
              </a:extLst>
            </p:cNvPr>
            <p:cNvSpPr txBox="1"/>
            <p:nvPr/>
          </p:nvSpPr>
          <p:spPr>
            <a:xfrm>
              <a:off x="3586476" y="1575429"/>
              <a:ext cx="511679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centiv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20" name="Hexagon 319">
              <a:extLst>
                <a:ext uri="{FF2B5EF4-FFF2-40B4-BE49-F238E27FC236}">
                  <a16:creationId xmlns:a16="http://schemas.microsoft.com/office/drawing/2014/main" id="{8DC36D60-FC77-4E87-8217-772FECB57C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3105" y="1694087"/>
              <a:ext cx="476178" cy="410500"/>
            </a:xfrm>
            <a:prstGeom prst="hexagon">
              <a:avLst/>
            </a:prstGeom>
            <a:solidFill>
              <a:srgbClr val="2B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A5279E21-AC8F-4B6F-AD47-C3078F6FF4E4}"/>
                </a:ext>
              </a:extLst>
            </p:cNvPr>
            <p:cNvSpPr txBox="1"/>
            <p:nvPr/>
          </p:nvSpPr>
          <p:spPr>
            <a:xfrm>
              <a:off x="3213790" y="1817759"/>
              <a:ext cx="474810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Commerce</a:t>
              </a:r>
            </a:p>
          </p:txBody>
        </p:sp>
        <p:sp>
          <p:nvSpPr>
            <p:cNvPr id="322" name="Hexagon 321">
              <a:extLst>
                <a:ext uri="{FF2B5EF4-FFF2-40B4-BE49-F238E27FC236}">
                  <a16:creationId xmlns:a16="http://schemas.microsoft.com/office/drawing/2014/main" id="{2B159CCB-6AEE-464F-BE00-BC3C289811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04225" y="1913627"/>
              <a:ext cx="476178" cy="410500"/>
            </a:xfrm>
            <a:prstGeom prst="hexagon">
              <a:avLst/>
            </a:prstGeom>
            <a:solidFill>
              <a:srgbClr val="2B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BCB762E0-DEFC-49B3-BACB-2172154DB133}"/>
                </a:ext>
              </a:extLst>
            </p:cNvPr>
            <p:cNvSpPr txBox="1"/>
            <p:nvPr/>
          </p:nvSpPr>
          <p:spPr>
            <a:xfrm>
              <a:off x="3580063" y="2006280"/>
              <a:ext cx="524504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figur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ice &amp; Quote</a:t>
              </a:r>
            </a:p>
          </p:txBody>
        </p:sp>
        <p:sp>
          <p:nvSpPr>
            <p:cNvPr id="324" name="Hexagon 323">
              <a:extLst>
                <a:ext uri="{FF2B5EF4-FFF2-40B4-BE49-F238E27FC236}">
                  <a16:creationId xmlns:a16="http://schemas.microsoft.com/office/drawing/2014/main" id="{770F5530-DE5E-435E-92C8-1BDC2C08F0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3105" y="2126634"/>
              <a:ext cx="476178" cy="410500"/>
            </a:xfrm>
            <a:prstGeom prst="hexagon">
              <a:avLst/>
            </a:prstGeom>
            <a:solidFill>
              <a:srgbClr val="2B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58713FB3-3585-4CF1-948E-AA5DB22B77FF}"/>
                </a:ext>
              </a:extLst>
            </p:cNvPr>
            <p:cNvSpPr txBox="1"/>
            <p:nvPr/>
          </p:nvSpPr>
          <p:spPr>
            <a:xfrm>
              <a:off x="3178524" y="2182899"/>
              <a:ext cx="545342" cy="3023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mart Tools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amp; Subscription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26" name="Hexagon 325">
              <a:extLst>
                <a:ext uri="{FF2B5EF4-FFF2-40B4-BE49-F238E27FC236}">
                  <a16:creationId xmlns:a16="http://schemas.microsoft.com/office/drawing/2014/main" id="{1E36BA8B-2991-45E3-9D53-9FA6DEFEE9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04225" y="2346901"/>
              <a:ext cx="476178" cy="410500"/>
            </a:xfrm>
            <a:prstGeom prst="hexagon">
              <a:avLst/>
            </a:prstGeom>
            <a:solidFill>
              <a:srgbClr val="2B5F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9AB09424-781A-4AB7-AD1F-5D4EB5128136}"/>
                </a:ext>
              </a:extLst>
            </p:cNvPr>
            <p:cNvSpPr txBox="1"/>
            <p:nvPr/>
          </p:nvSpPr>
          <p:spPr>
            <a:xfrm>
              <a:off x="3639583" y="2470572"/>
              <a:ext cx="393057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thers…</a:t>
              </a:r>
            </a:p>
          </p:txBody>
        </p:sp>
        <p:pic>
          <p:nvPicPr>
            <p:cNvPr id="328" name="Picture 327">
              <a:extLst>
                <a:ext uri="{FF2B5EF4-FFF2-40B4-BE49-F238E27FC236}">
                  <a16:creationId xmlns:a16="http://schemas.microsoft.com/office/drawing/2014/main" id="{7B44622A-E6BC-4727-B723-7D8CF8A754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136526" y="2577746"/>
              <a:ext cx="392257" cy="98714"/>
            </a:xfrm>
            <a:prstGeom prst="rect">
              <a:avLst/>
            </a:prstGeom>
          </p:spPr>
        </p:pic>
        <p:pic>
          <p:nvPicPr>
            <p:cNvPr id="329" name="Picture 328" descr="Sales Enablement Software &amp; Learning Management Solutions | Bigtincan">
              <a:extLst>
                <a:ext uri="{FF2B5EF4-FFF2-40B4-BE49-F238E27FC236}">
                  <a16:creationId xmlns:a16="http://schemas.microsoft.com/office/drawing/2014/main" id="{290B24E4-5650-4078-9B05-8A5BD444F6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9376" y="1014608"/>
              <a:ext cx="428484" cy="119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0" name="Picture 8" descr="Oracle CPQ Reviews 2021: Details, Pricing, &amp; Features | G2">
              <a:extLst>
                <a:ext uri="{FF2B5EF4-FFF2-40B4-BE49-F238E27FC236}">
                  <a16:creationId xmlns:a16="http://schemas.microsoft.com/office/drawing/2014/main" id="{735C5827-2120-4156-A244-8E71BB043D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08" t="13796" r="8868" b="13336"/>
            <a:stretch/>
          </p:blipFill>
          <p:spPr bwMode="auto">
            <a:xfrm>
              <a:off x="4028296" y="1840226"/>
              <a:ext cx="284487" cy="133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1" name="Picture 6" descr="Eloqua Logos">
              <a:extLst>
                <a:ext uri="{FF2B5EF4-FFF2-40B4-BE49-F238E27FC236}">
                  <a16:creationId xmlns:a16="http://schemas.microsoft.com/office/drawing/2014/main" id="{4DE88155-BF18-4771-ACF3-1023762AE90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696" t="40664" r="13176" b="45044"/>
            <a:stretch/>
          </p:blipFill>
          <p:spPr bwMode="auto">
            <a:xfrm>
              <a:off x="4079341" y="1077525"/>
              <a:ext cx="227708" cy="727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2" name="Picture 4" descr="Percolate Leads Pack in First-Ever Gartner Magic Quadrant analysis for  Content Marketing Platforms">
              <a:extLst>
                <a:ext uri="{FF2B5EF4-FFF2-40B4-BE49-F238E27FC236}">
                  <a16:creationId xmlns:a16="http://schemas.microsoft.com/office/drawing/2014/main" id="{DE4D1FCD-64B9-4F2F-973A-BAD724FA9DD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088" b="33136"/>
            <a:stretch/>
          </p:blipFill>
          <p:spPr bwMode="auto">
            <a:xfrm>
              <a:off x="3650056" y="971602"/>
              <a:ext cx="401349" cy="672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3" name="Picture 6" descr="Oracle logo and symbol, meaning, history, PNG">
              <a:extLst>
                <a:ext uri="{FF2B5EF4-FFF2-40B4-BE49-F238E27FC236}">
                  <a16:creationId xmlns:a16="http://schemas.microsoft.com/office/drawing/2014/main" id="{62B28DCA-967A-4041-851F-399AE5B524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820" b="34616"/>
            <a:stretch/>
          </p:blipFill>
          <p:spPr bwMode="auto">
            <a:xfrm>
              <a:off x="3008839" y="1691757"/>
              <a:ext cx="259773" cy="43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4" name="Picture 22" descr="No-code, Unified, Enterprise Automation - Optymyze">
              <a:extLst>
                <a:ext uri="{FF2B5EF4-FFF2-40B4-BE49-F238E27FC236}">
                  <a16:creationId xmlns:a16="http://schemas.microsoft.com/office/drawing/2014/main" id="{8CCD7AE2-B062-4EA7-91E7-541454AC90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6812" y="1448189"/>
              <a:ext cx="351213" cy="89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4EA69DE8-AA48-49C7-A853-5C6116E4B260}"/>
                </a:ext>
              </a:extLst>
            </p:cNvPr>
            <p:cNvSpPr txBox="1"/>
            <p:nvPr/>
          </p:nvSpPr>
          <p:spPr>
            <a:xfrm>
              <a:off x="3240818" y="2744496"/>
              <a:ext cx="852155" cy="218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ad to Order</a:t>
              </a:r>
            </a:p>
          </p:txBody>
        </p:sp>
        <p:sp>
          <p:nvSpPr>
            <p:cNvPr id="336" name="Hexagon 335">
              <a:extLst>
                <a:ext uri="{FF2B5EF4-FFF2-40B4-BE49-F238E27FC236}">
                  <a16:creationId xmlns:a16="http://schemas.microsoft.com/office/drawing/2014/main" id="{E18DB548-6468-46D9-A449-A98C4E7E2E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7511" y="1154943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E340AEB1-759E-4B31-A0BD-C72BCA826A84}"/>
                </a:ext>
              </a:extLst>
            </p:cNvPr>
            <p:cNvSpPr txBox="1"/>
            <p:nvPr/>
          </p:nvSpPr>
          <p:spPr>
            <a:xfrm>
              <a:off x="4702622" y="1208660"/>
              <a:ext cx="445956" cy="3023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and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recast &amp;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lanning</a:t>
              </a:r>
            </a:p>
          </p:txBody>
        </p:sp>
        <p:sp>
          <p:nvSpPr>
            <p:cNvPr id="338" name="Hexagon 337">
              <a:extLst>
                <a:ext uri="{FF2B5EF4-FFF2-40B4-BE49-F238E27FC236}">
                  <a16:creationId xmlns:a16="http://schemas.microsoft.com/office/drawing/2014/main" id="{270A15BC-68E4-496A-B92F-C84A9EAA29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78631" y="1378393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7F4EB60F-44A7-43A3-A08D-141E25C6B0FD}"/>
                </a:ext>
              </a:extLst>
            </p:cNvPr>
            <p:cNvSpPr txBox="1"/>
            <p:nvPr/>
          </p:nvSpPr>
          <p:spPr>
            <a:xfrm>
              <a:off x="5081720" y="1471046"/>
              <a:ext cx="470001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plianc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amp; GTM</a:t>
              </a:r>
            </a:p>
          </p:txBody>
        </p:sp>
        <p:sp>
          <p:nvSpPr>
            <p:cNvPr id="340" name="Hexagon 339">
              <a:extLst>
                <a:ext uri="{FF2B5EF4-FFF2-40B4-BE49-F238E27FC236}">
                  <a16:creationId xmlns:a16="http://schemas.microsoft.com/office/drawing/2014/main" id="{9BBC893A-4CE2-4BA4-A435-E59D5C3F1D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7511" y="1589704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1" name="TextBox 340">
              <a:extLst>
                <a:ext uri="{FF2B5EF4-FFF2-40B4-BE49-F238E27FC236}">
                  <a16:creationId xmlns:a16="http://schemas.microsoft.com/office/drawing/2014/main" id="{EC956BAB-1F0D-44B6-ABC2-8E31A9DF2CCB}"/>
                </a:ext>
              </a:extLst>
            </p:cNvPr>
            <p:cNvSpPr txBox="1"/>
            <p:nvPr/>
          </p:nvSpPr>
          <p:spPr>
            <a:xfrm>
              <a:off x="4666555" y="1638931"/>
              <a:ext cx="518092" cy="3023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upply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lanning &amp;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laboration</a:t>
              </a:r>
            </a:p>
          </p:txBody>
        </p:sp>
        <p:sp>
          <p:nvSpPr>
            <p:cNvPr id="342" name="Hexagon 341">
              <a:extLst>
                <a:ext uri="{FF2B5EF4-FFF2-40B4-BE49-F238E27FC236}">
                  <a16:creationId xmlns:a16="http://schemas.microsoft.com/office/drawing/2014/main" id="{D741AD5D-6A6F-403E-8B25-23830FC531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78631" y="1809244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F6962663-91BC-4B8C-950C-F65187AD87BA}"/>
                </a:ext>
              </a:extLst>
            </p:cNvPr>
            <p:cNvSpPr txBox="1"/>
            <p:nvPr/>
          </p:nvSpPr>
          <p:spPr>
            <a:xfrm>
              <a:off x="5117789" y="1901897"/>
              <a:ext cx="397866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rategic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urcing</a:t>
              </a:r>
            </a:p>
          </p:txBody>
        </p:sp>
        <p:sp>
          <p:nvSpPr>
            <p:cNvPr id="344" name="Hexagon 343">
              <a:extLst>
                <a:ext uri="{FF2B5EF4-FFF2-40B4-BE49-F238E27FC236}">
                  <a16:creationId xmlns:a16="http://schemas.microsoft.com/office/drawing/2014/main" id="{A3244063-5360-4C60-BB8E-D156FDB53D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7511" y="2022250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id="{6209AF54-B964-49E9-8E18-367F30B635E1}"/>
                </a:ext>
              </a:extLst>
            </p:cNvPr>
            <p:cNvSpPr txBox="1"/>
            <p:nvPr/>
          </p:nvSpPr>
          <p:spPr>
            <a:xfrm>
              <a:off x="4669763" y="2109534"/>
              <a:ext cx="511679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arehous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46" name="Hexagon 345">
              <a:extLst>
                <a:ext uri="{FF2B5EF4-FFF2-40B4-BE49-F238E27FC236}">
                  <a16:creationId xmlns:a16="http://schemas.microsoft.com/office/drawing/2014/main" id="{E4D4A8EA-C812-42E5-B90C-8E733BD5E9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78631" y="2242517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7" name="TextBox 346">
              <a:extLst>
                <a:ext uri="{FF2B5EF4-FFF2-40B4-BE49-F238E27FC236}">
                  <a16:creationId xmlns:a16="http://schemas.microsoft.com/office/drawing/2014/main" id="{BD284DD4-B762-4372-94EE-16C4D08F8EBD}"/>
                </a:ext>
              </a:extLst>
            </p:cNvPr>
            <p:cNvSpPr txBox="1"/>
            <p:nvPr/>
          </p:nvSpPr>
          <p:spPr>
            <a:xfrm>
              <a:off x="5113990" y="2366189"/>
              <a:ext cx="393057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thers…</a:t>
              </a:r>
            </a:p>
          </p:txBody>
        </p:sp>
        <p:sp>
          <p:nvSpPr>
            <p:cNvPr id="348" name="TextBox 347">
              <a:extLst>
                <a:ext uri="{FF2B5EF4-FFF2-40B4-BE49-F238E27FC236}">
                  <a16:creationId xmlns:a16="http://schemas.microsoft.com/office/drawing/2014/main" id="{3824B389-B397-4A9E-842A-865BC5A59CB6}"/>
                </a:ext>
              </a:extLst>
            </p:cNvPr>
            <p:cNvSpPr txBox="1"/>
            <p:nvPr/>
          </p:nvSpPr>
          <p:spPr>
            <a:xfrm>
              <a:off x="4712223" y="2743994"/>
              <a:ext cx="852155" cy="218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upply Chain</a:t>
              </a:r>
            </a:p>
          </p:txBody>
        </p:sp>
        <p:pic>
          <p:nvPicPr>
            <p:cNvPr id="349" name="Picture 348">
              <a:extLst>
                <a:ext uri="{FF2B5EF4-FFF2-40B4-BE49-F238E27FC236}">
                  <a16:creationId xmlns:a16="http://schemas.microsoft.com/office/drawing/2014/main" id="{C30E5BF7-7015-4C3A-A8E7-D052A2BEC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5143110" y="1010449"/>
              <a:ext cx="319521" cy="207818"/>
            </a:xfrm>
            <a:prstGeom prst="rect">
              <a:avLst/>
            </a:prstGeom>
          </p:spPr>
        </p:pic>
        <p:pic>
          <p:nvPicPr>
            <p:cNvPr id="350" name="Bild 3">
              <a:extLst>
                <a:ext uri="{FF2B5EF4-FFF2-40B4-BE49-F238E27FC236}">
                  <a16:creationId xmlns:a16="http://schemas.microsoft.com/office/drawing/2014/main" id="{DBDD9C81-EEB4-40C1-A456-472248FE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4347" y="1362249"/>
              <a:ext cx="249382" cy="123029"/>
            </a:xfrm>
            <a:prstGeom prst="rect">
              <a:avLst/>
            </a:prstGeom>
          </p:spPr>
        </p:pic>
        <p:pic>
          <p:nvPicPr>
            <p:cNvPr id="353" name="Picture 20" descr="Image result for sap ariba logo">
              <a:extLst>
                <a:ext uri="{FF2B5EF4-FFF2-40B4-BE49-F238E27FC236}">
                  <a16:creationId xmlns:a16="http://schemas.microsoft.com/office/drawing/2014/main" id="{1BC41ABB-86D9-4BCB-A59F-1B1458FC91E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640" t="7162" r="4321" b="13840"/>
            <a:stretch/>
          </p:blipFill>
          <p:spPr bwMode="auto">
            <a:xfrm rot="5400000">
              <a:off x="5444029" y="2037559"/>
              <a:ext cx="460285" cy="13133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</p:pic>
        <p:pic>
          <p:nvPicPr>
            <p:cNvPr id="354" name="Picture 353">
              <a:extLst>
                <a:ext uri="{FF2B5EF4-FFF2-40B4-BE49-F238E27FC236}">
                  <a16:creationId xmlns:a16="http://schemas.microsoft.com/office/drawing/2014/main" id="{E06AC8F8-31E3-4970-BCA5-8579D821DF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6048962" y="3401374"/>
              <a:ext cx="748147" cy="102246"/>
            </a:xfrm>
            <a:prstGeom prst="rect">
              <a:avLst/>
            </a:prstGeom>
          </p:spPr>
        </p:pic>
        <p:pic>
          <p:nvPicPr>
            <p:cNvPr id="356" name="Graphic 355">
              <a:extLst>
                <a:ext uri="{FF2B5EF4-FFF2-40B4-BE49-F238E27FC236}">
                  <a16:creationId xmlns:a16="http://schemas.microsoft.com/office/drawing/2014/main" id="{5DAC8169-3E3D-49A9-8344-BE1B86C12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 rot="10800000" flipV="1">
              <a:off x="4944121" y="2338324"/>
              <a:ext cx="105958" cy="79469"/>
            </a:xfrm>
            <a:prstGeom prst="rect">
              <a:avLst/>
            </a:prstGeom>
          </p:spPr>
        </p:pic>
        <p:pic>
          <p:nvPicPr>
            <p:cNvPr id="357" name="Picture 356">
              <a:extLst>
                <a:ext uri="{FF2B5EF4-FFF2-40B4-BE49-F238E27FC236}">
                  <a16:creationId xmlns:a16="http://schemas.microsoft.com/office/drawing/2014/main" id="{9C7CAB26-1879-4505-B081-7F7529362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4188293" y="3378212"/>
              <a:ext cx="132735" cy="132735"/>
            </a:xfrm>
            <a:prstGeom prst="rect">
              <a:avLst/>
            </a:prstGeom>
          </p:spPr>
        </p:pic>
        <p:sp>
          <p:nvSpPr>
            <p:cNvPr id="358" name="TextBox 357">
              <a:extLst>
                <a:ext uri="{FF2B5EF4-FFF2-40B4-BE49-F238E27FC236}">
                  <a16:creationId xmlns:a16="http://schemas.microsoft.com/office/drawing/2014/main" id="{A967965F-A6F7-4DED-B50C-257178B61DAA}"/>
                </a:ext>
              </a:extLst>
            </p:cNvPr>
            <p:cNvSpPr txBox="1"/>
            <p:nvPr/>
          </p:nvSpPr>
          <p:spPr>
            <a:xfrm>
              <a:off x="4247585" y="3354567"/>
              <a:ext cx="439544" cy="2042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7" b="1" i="0" u="none" strike="noStrike" kern="1200" cap="none" spc="0" normalizeH="0" baseline="0" noProof="0" dirty="0">
                  <a:ln>
                    <a:noFill/>
                  </a:ln>
                  <a:solidFill>
                    <a:srgbClr val="074D92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Fiori </a:t>
              </a:r>
              <a:endParaRPr kumimoji="0" lang="en-US" sz="72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9" name="Rectangle 358">
              <a:extLst>
                <a:ext uri="{FF2B5EF4-FFF2-40B4-BE49-F238E27FC236}">
                  <a16:creationId xmlns:a16="http://schemas.microsoft.com/office/drawing/2014/main" id="{B0ED6391-1A16-4839-8977-3AB2E95CB426}"/>
                </a:ext>
              </a:extLst>
            </p:cNvPr>
            <p:cNvSpPr/>
            <p:nvPr/>
          </p:nvSpPr>
          <p:spPr>
            <a:xfrm>
              <a:off x="2019897" y="941813"/>
              <a:ext cx="172842" cy="2034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60" name="Hexagon 359">
              <a:extLst>
                <a:ext uri="{FF2B5EF4-FFF2-40B4-BE49-F238E27FC236}">
                  <a16:creationId xmlns:a16="http://schemas.microsoft.com/office/drawing/2014/main" id="{B30B2C08-6E3B-4D92-9BF7-0255DA2F6B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80255" y="4318135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1" name="TextBox 360">
              <a:extLst>
                <a:ext uri="{FF2B5EF4-FFF2-40B4-BE49-F238E27FC236}">
                  <a16:creationId xmlns:a16="http://schemas.microsoft.com/office/drawing/2014/main" id="{A94D9126-E768-48D5-BEBF-EB0F5823520A}"/>
                </a:ext>
              </a:extLst>
            </p:cNvPr>
            <p:cNvSpPr txBox="1"/>
            <p:nvPr/>
          </p:nvSpPr>
          <p:spPr>
            <a:xfrm>
              <a:off x="2136118" y="4411468"/>
              <a:ext cx="566181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vironment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ealth &amp; Safety</a:t>
              </a:r>
            </a:p>
          </p:txBody>
        </p:sp>
        <p:sp>
          <p:nvSpPr>
            <p:cNvPr id="362" name="Hexagon 361">
              <a:extLst>
                <a:ext uri="{FF2B5EF4-FFF2-40B4-BE49-F238E27FC236}">
                  <a16:creationId xmlns:a16="http://schemas.microsoft.com/office/drawing/2014/main" id="{31BE746B-5CBB-43AA-8F88-B86F4C4219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80255" y="3891662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3" name="TextBox 362">
              <a:extLst>
                <a:ext uri="{FF2B5EF4-FFF2-40B4-BE49-F238E27FC236}">
                  <a16:creationId xmlns:a16="http://schemas.microsoft.com/office/drawing/2014/main" id="{7D1F5FA8-E355-4020-A858-37E8FC7DF26C}"/>
                </a:ext>
              </a:extLst>
            </p:cNvPr>
            <p:cNvSpPr txBox="1"/>
            <p:nvPr/>
          </p:nvSpPr>
          <p:spPr>
            <a:xfrm>
              <a:off x="2162504" y="3944665"/>
              <a:ext cx="511679" cy="3023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rder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amp; Billing</a:t>
              </a:r>
            </a:p>
          </p:txBody>
        </p:sp>
        <p:sp>
          <p:nvSpPr>
            <p:cNvPr id="364" name="Hexagon 363">
              <a:extLst>
                <a:ext uri="{FF2B5EF4-FFF2-40B4-BE49-F238E27FC236}">
                  <a16:creationId xmlns:a16="http://schemas.microsoft.com/office/drawing/2014/main" id="{F57C0D3F-0B2C-412D-810B-AB50F29D83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57893" y="4318135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5" name="Hexagon 364">
              <a:extLst>
                <a:ext uri="{FF2B5EF4-FFF2-40B4-BE49-F238E27FC236}">
                  <a16:creationId xmlns:a16="http://schemas.microsoft.com/office/drawing/2014/main" id="{05F6B061-8639-4C30-9478-320B51C5D4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40917" y="4106866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549A7D7F-2403-4913-AE7D-5882085E1CE1}"/>
                </a:ext>
              </a:extLst>
            </p:cNvPr>
            <p:cNvSpPr txBox="1"/>
            <p:nvPr/>
          </p:nvSpPr>
          <p:spPr>
            <a:xfrm>
              <a:off x="3323172" y="4200199"/>
              <a:ext cx="511679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Quality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67" name="Hexagon 366">
              <a:extLst>
                <a:ext uri="{FF2B5EF4-FFF2-40B4-BE49-F238E27FC236}">
                  <a16:creationId xmlns:a16="http://schemas.microsoft.com/office/drawing/2014/main" id="{B6E018B9-8BFB-4DF7-A471-0DE7B4FD2F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0266" y="4318135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8" name="Hexagon 367">
              <a:extLst>
                <a:ext uri="{FF2B5EF4-FFF2-40B4-BE49-F238E27FC236}">
                  <a16:creationId xmlns:a16="http://schemas.microsoft.com/office/drawing/2014/main" id="{765483F3-B45A-404C-B799-7A480B941C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55723" y="3891662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9" name="TextBox 368">
              <a:extLst>
                <a:ext uri="{FF2B5EF4-FFF2-40B4-BE49-F238E27FC236}">
                  <a16:creationId xmlns:a16="http://schemas.microsoft.com/office/drawing/2014/main" id="{DD04E7CC-04F8-4621-8067-CCC878F7553D}"/>
                </a:ext>
              </a:extLst>
            </p:cNvPr>
            <p:cNvSpPr txBox="1"/>
            <p:nvPr/>
          </p:nvSpPr>
          <p:spPr>
            <a:xfrm>
              <a:off x="2931941" y="3950019"/>
              <a:ext cx="511679" cy="3023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an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arehous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70" name="Hexagon 369">
              <a:extLst>
                <a:ext uri="{FF2B5EF4-FFF2-40B4-BE49-F238E27FC236}">
                  <a16:creationId xmlns:a16="http://schemas.microsoft.com/office/drawing/2014/main" id="{C970FD5F-F918-4BB4-9460-84C61F6560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66716" y="4106866"/>
              <a:ext cx="476178" cy="410500"/>
            </a:xfrm>
            <a:prstGeom prst="hexagon">
              <a:avLst/>
            </a:prstGeom>
            <a:solidFill>
              <a:schemeClr val="bg2">
                <a:lumMod val="50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1" name="TextBox 370">
              <a:extLst>
                <a:ext uri="{FF2B5EF4-FFF2-40B4-BE49-F238E27FC236}">
                  <a16:creationId xmlns:a16="http://schemas.microsoft.com/office/drawing/2014/main" id="{BC93484F-C5F5-4E54-B71F-41586E076864}"/>
                </a:ext>
              </a:extLst>
            </p:cNvPr>
            <p:cNvSpPr txBox="1"/>
            <p:nvPr/>
          </p:nvSpPr>
          <p:spPr>
            <a:xfrm>
              <a:off x="2577020" y="4239794"/>
              <a:ext cx="455574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duction</a:t>
              </a:r>
            </a:p>
          </p:txBody>
        </p:sp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ADE119C7-EA6E-432B-981D-7FD832B99552}"/>
                </a:ext>
              </a:extLst>
            </p:cNvPr>
            <p:cNvSpPr txBox="1"/>
            <p:nvPr/>
          </p:nvSpPr>
          <p:spPr>
            <a:xfrm>
              <a:off x="2939859" y="4411468"/>
              <a:ext cx="511679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ogistics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373" name="TextBox 372">
              <a:extLst>
                <a:ext uri="{FF2B5EF4-FFF2-40B4-BE49-F238E27FC236}">
                  <a16:creationId xmlns:a16="http://schemas.microsoft.com/office/drawing/2014/main" id="{1D1A6B0D-1910-4FBA-B9C7-6A0F1546B7F5}"/>
                </a:ext>
              </a:extLst>
            </p:cNvPr>
            <p:cNvSpPr txBox="1"/>
            <p:nvPr/>
          </p:nvSpPr>
          <p:spPr>
            <a:xfrm>
              <a:off x="3706995" y="3984312"/>
              <a:ext cx="510076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inanc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amp; Controlling</a:t>
              </a:r>
            </a:p>
          </p:txBody>
        </p:sp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E0E23423-3F39-4C49-AE8B-4F31C4855F9A}"/>
                </a:ext>
              </a:extLst>
            </p:cNvPr>
            <p:cNvSpPr txBox="1"/>
            <p:nvPr/>
          </p:nvSpPr>
          <p:spPr>
            <a:xfrm>
              <a:off x="3774123" y="4441588"/>
              <a:ext cx="393057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thers…</a:t>
              </a:r>
            </a:p>
          </p:txBody>
        </p:sp>
        <p:sp>
          <p:nvSpPr>
            <p:cNvPr id="375" name="Hexagon 374">
              <a:extLst>
                <a:ext uri="{FF2B5EF4-FFF2-40B4-BE49-F238E27FC236}">
                  <a16:creationId xmlns:a16="http://schemas.microsoft.com/office/drawing/2014/main" id="{47C05497-3E83-4419-B9E7-54BBAB6AF6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55668" y="1067623"/>
              <a:ext cx="476178" cy="410500"/>
            </a:xfrm>
            <a:prstGeom prst="hexagon">
              <a:avLst/>
            </a:prstGeom>
            <a:solidFill>
              <a:srgbClr val="059D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6" name="TextBox 375">
              <a:extLst>
                <a:ext uri="{FF2B5EF4-FFF2-40B4-BE49-F238E27FC236}">
                  <a16:creationId xmlns:a16="http://schemas.microsoft.com/office/drawing/2014/main" id="{9C0342EB-569F-4CF2-884D-5C7B1CE50F28}"/>
                </a:ext>
              </a:extLst>
            </p:cNvPr>
            <p:cNvSpPr txBox="1"/>
            <p:nvPr/>
          </p:nvSpPr>
          <p:spPr>
            <a:xfrm>
              <a:off x="2240453" y="1118313"/>
              <a:ext cx="511679" cy="3023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duct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ifecycl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pic>
          <p:nvPicPr>
            <p:cNvPr id="377" name="Graphic 376">
              <a:extLst>
                <a:ext uri="{FF2B5EF4-FFF2-40B4-BE49-F238E27FC236}">
                  <a16:creationId xmlns:a16="http://schemas.microsoft.com/office/drawing/2014/main" id="{CFA938AE-7793-4A06-ACBD-199FF1F09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4947484" y="1899139"/>
              <a:ext cx="105958" cy="79469"/>
            </a:xfrm>
            <a:prstGeom prst="rect">
              <a:avLst/>
            </a:prstGeom>
          </p:spPr>
        </p:pic>
        <p:pic>
          <p:nvPicPr>
            <p:cNvPr id="378" name="Graphic 377">
              <a:extLst>
                <a:ext uri="{FF2B5EF4-FFF2-40B4-BE49-F238E27FC236}">
                  <a16:creationId xmlns:a16="http://schemas.microsoft.com/office/drawing/2014/main" id="{A413DB4C-8BAF-44F7-A599-C4CABB464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4944120" y="1467757"/>
              <a:ext cx="105958" cy="79469"/>
            </a:xfrm>
            <a:prstGeom prst="rect">
              <a:avLst/>
            </a:prstGeom>
          </p:spPr>
        </p:pic>
        <p:pic>
          <p:nvPicPr>
            <p:cNvPr id="379" name="Graphic 378">
              <a:extLst>
                <a:ext uri="{FF2B5EF4-FFF2-40B4-BE49-F238E27FC236}">
                  <a16:creationId xmlns:a16="http://schemas.microsoft.com/office/drawing/2014/main" id="{4447805D-D9D1-4489-96DA-072B0CAD77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4801886" y="1458500"/>
              <a:ext cx="103909" cy="90921"/>
            </a:xfrm>
            <a:prstGeom prst="rect">
              <a:avLst/>
            </a:prstGeom>
          </p:spPr>
        </p:pic>
        <p:pic>
          <p:nvPicPr>
            <p:cNvPr id="380" name="Graphic 379">
              <a:extLst>
                <a:ext uri="{FF2B5EF4-FFF2-40B4-BE49-F238E27FC236}">
                  <a16:creationId xmlns:a16="http://schemas.microsoft.com/office/drawing/2014/main" id="{F4EA8A19-FE7F-4F8C-8715-27F775D947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5328914" y="1676368"/>
              <a:ext cx="103909" cy="90921"/>
            </a:xfrm>
            <a:prstGeom prst="rect">
              <a:avLst/>
            </a:prstGeom>
          </p:spPr>
        </p:pic>
        <p:pic>
          <p:nvPicPr>
            <p:cNvPr id="381" name="Graphic 380">
              <a:extLst>
                <a:ext uri="{FF2B5EF4-FFF2-40B4-BE49-F238E27FC236}">
                  <a16:creationId xmlns:a16="http://schemas.microsoft.com/office/drawing/2014/main" id="{EDDD4E79-1522-41B1-84CA-0F7BABE14D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5321506" y="2117021"/>
              <a:ext cx="105958" cy="79469"/>
            </a:xfrm>
            <a:prstGeom prst="rect">
              <a:avLst/>
            </a:prstGeom>
          </p:spPr>
        </p:pic>
        <p:pic>
          <p:nvPicPr>
            <p:cNvPr id="382" name="Graphic 381">
              <a:extLst>
                <a:ext uri="{FF2B5EF4-FFF2-40B4-BE49-F238E27FC236}">
                  <a16:creationId xmlns:a16="http://schemas.microsoft.com/office/drawing/2014/main" id="{AC7BF3B4-4E5B-44FD-93EB-65612FBFDC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3859873" y="1795749"/>
              <a:ext cx="105958" cy="79469"/>
            </a:xfrm>
            <a:prstGeom prst="rect">
              <a:avLst/>
            </a:prstGeom>
          </p:spPr>
        </p:pic>
        <p:pic>
          <p:nvPicPr>
            <p:cNvPr id="383" name="Graphic 382">
              <a:extLst>
                <a:ext uri="{FF2B5EF4-FFF2-40B4-BE49-F238E27FC236}">
                  <a16:creationId xmlns:a16="http://schemas.microsoft.com/office/drawing/2014/main" id="{5CC480E5-4C76-4056-9D48-3282CB8AC3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3480934" y="1574948"/>
              <a:ext cx="105958" cy="79469"/>
            </a:xfrm>
            <a:prstGeom prst="rect">
              <a:avLst/>
            </a:prstGeom>
          </p:spPr>
        </p:pic>
        <p:pic>
          <p:nvPicPr>
            <p:cNvPr id="384" name="Graphic 383">
              <a:extLst>
                <a:ext uri="{FF2B5EF4-FFF2-40B4-BE49-F238E27FC236}">
                  <a16:creationId xmlns:a16="http://schemas.microsoft.com/office/drawing/2014/main" id="{35F2A45C-1833-4F98-A0FF-B6D42EEDD5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3487607" y="1981512"/>
              <a:ext cx="103909" cy="90921"/>
            </a:xfrm>
            <a:prstGeom prst="rect">
              <a:avLst/>
            </a:prstGeom>
          </p:spPr>
        </p:pic>
        <p:pic>
          <p:nvPicPr>
            <p:cNvPr id="385" name="Graphic 384">
              <a:extLst>
                <a:ext uri="{FF2B5EF4-FFF2-40B4-BE49-F238E27FC236}">
                  <a16:creationId xmlns:a16="http://schemas.microsoft.com/office/drawing/2014/main" id="{70F68E76-5BA0-4F35-803A-446042DDB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3854521" y="2219091"/>
              <a:ext cx="105958" cy="79469"/>
            </a:xfrm>
            <a:prstGeom prst="rect">
              <a:avLst/>
            </a:prstGeom>
          </p:spPr>
        </p:pic>
        <p:pic>
          <p:nvPicPr>
            <p:cNvPr id="386" name="Graphic 385">
              <a:extLst>
                <a:ext uri="{FF2B5EF4-FFF2-40B4-BE49-F238E27FC236}">
                  <a16:creationId xmlns:a16="http://schemas.microsoft.com/office/drawing/2014/main" id="{D9878D56-113F-454F-92F9-15AAD2CC3C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3476086" y="2449428"/>
              <a:ext cx="105958" cy="79469"/>
            </a:xfrm>
            <a:prstGeom prst="rect">
              <a:avLst/>
            </a:prstGeom>
          </p:spPr>
        </p:pic>
        <p:pic>
          <p:nvPicPr>
            <p:cNvPr id="387" name="Graphic 386">
              <a:extLst>
                <a:ext uri="{FF2B5EF4-FFF2-40B4-BE49-F238E27FC236}">
                  <a16:creationId xmlns:a16="http://schemas.microsoft.com/office/drawing/2014/main" id="{8B78DFE1-4764-4436-BA6D-643D177793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7586778" y="1831276"/>
              <a:ext cx="105958" cy="79469"/>
            </a:xfrm>
            <a:prstGeom prst="rect">
              <a:avLst/>
            </a:prstGeom>
          </p:spPr>
        </p:pic>
        <p:pic>
          <p:nvPicPr>
            <p:cNvPr id="388" name="Graphic 387">
              <a:extLst>
                <a:ext uri="{FF2B5EF4-FFF2-40B4-BE49-F238E27FC236}">
                  <a16:creationId xmlns:a16="http://schemas.microsoft.com/office/drawing/2014/main" id="{A594F819-566D-4ECC-AFCD-C6ACB6FDF7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7586778" y="2265366"/>
              <a:ext cx="105958" cy="79469"/>
            </a:xfrm>
            <a:prstGeom prst="rect">
              <a:avLst/>
            </a:prstGeom>
          </p:spPr>
        </p:pic>
        <p:pic>
          <p:nvPicPr>
            <p:cNvPr id="389" name="Graphic 388">
              <a:extLst>
                <a:ext uri="{FF2B5EF4-FFF2-40B4-BE49-F238E27FC236}">
                  <a16:creationId xmlns:a16="http://schemas.microsoft.com/office/drawing/2014/main" id="{CC4580B3-11FD-4954-9C0E-D68A3698C5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7624611" y="3463759"/>
              <a:ext cx="105958" cy="79469"/>
            </a:xfrm>
            <a:prstGeom prst="rect">
              <a:avLst/>
            </a:prstGeom>
          </p:spPr>
        </p:pic>
        <p:pic>
          <p:nvPicPr>
            <p:cNvPr id="390" name="Graphic 389">
              <a:extLst>
                <a:ext uri="{FF2B5EF4-FFF2-40B4-BE49-F238E27FC236}">
                  <a16:creationId xmlns:a16="http://schemas.microsoft.com/office/drawing/2014/main" id="{91AF0C5E-4041-4E6E-B538-BB217712CC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7632299" y="3863215"/>
              <a:ext cx="103909" cy="90921"/>
            </a:xfrm>
            <a:prstGeom prst="rect">
              <a:avLst/>
            </a:prstGeom>
          </p:spPr>
        </p:pic>
        <p:pic>
          <p:nvPicPr>
            <p:cNvPr id="391" name="Graphic 390">
              <a:extLst>
                <a:ext uri="{FF2B5EF4-FFF2-40B4-BE49-F238E27FC236}">
                  <a16:creationId xmlns:a16="http://schemas.microsoft.com/office/drawing/2014/main" id="{81930B37-18F6-48C6-AAC3-02CC3C4F9E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7624111" y="4315437"/>
              <a:ext cx="105958" cy="79469"/>
            </a:xfrm>
            <a:prstGeom prst="rect">
              <a:avLst/>
            </a:prstGeom>
          </p:spPr>
        </p:pic>
        <p:pic>
          <p:nvPicPr>
            <p:cNvPr id="392" name="Graphic 391">
              <a:extLst>
                <a:ext uri="{FF2B5EF4-FFF2-40B4-BE49-F238E27FC236}">
                  <a16:creationId xmlns:a16="http://schemas.microsoft.com/office/drawing/2014/main" id="{0AD0C179-A464-4AD3-8165-9041EC9637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8016255" y="4081805"/>
              <a:ext cx="103909" cy="90921"/>
            </a:xfrm>
            <a:prstGeom prst="rect">
              <a:avLst/>
            </a:prstGeom>
          </p:spPr>
        </p:pic>
        <p:pic>
          <p:nvPicPr>
            <p:cNvPr id="393" name="Graphic 392">
              <a:extLst>
                <a:ext uri="{FF2B5EF4-FFF2-40B4-BE49-F238E27FC236}">
                  <a16:creationId xmlns:a16="http://schemas.microsoft.com/office/drawing/2014/main" id="{5CA3C2E8-0D01-40A9-B046-E2F8F08AE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8016987" y="3653437"/>
              <a:ext cx="103909" cy="90921"/>
            </a:xfrm>
            <a:prstGeom prst="rect">
              <a:avLst/>
            </a:prstGeom>
          </p:spPr>
        </p:pic>
        <p:pic>
          <p:nvPicPr>
            <p:cNvPr id="394" name="Graphic 393">
              <a:extLst>
                <a:ext uri="{FF2B5EF4-FFF2-40B4-BE49-F238E27FC236}">
                  <a16:creationId xmlns:a16="http://schemas.microsoft.com/office/drawing/2014/main" id="{5D7251F0-DA79-4200-A753-46B9B2CA68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2527451" y="1798807"/>
              <a:ext cx="103909" cy="90921"/>
            </a:xfrm>
            <a:prstGeom prst="rect">
              <a:avLst/>
            </a:prstGeom>
          </p:spPr>
        </p:pic>
        <p:pic>
          <p:nvPicPr>
            <p:cNvPr id="395" name="Graphic 394">
              <a:extLst>
                <a:ext uri="{FF2B5EF4-FFF2-40B4-BE49-F238E27FC236}">
                  <a16:creationId xmlns:a16="http://schemas.microsoft.com/office/drawing/2014/main" id="{D75BE1AB-5346-4E91-9E8A-969076B3A2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2528525" y="1372467"/>
              <a:ext cx="103909" cy="90921"/>
            </a:xfrm>
            <a:prstGeom prst="rect">
              <a:avLst/>
            </a:prstGeom>
          </p:spPr>
        </p:pic>
        <p:sp>
          <p:nvSpPr>
            <p:cNvPr id="396" name="Hexagon 395">
              <a:extLst>
                <a:ext uri="{FF2B5EF4-FFF2-40B4-BE49-F238E27FC236}">
                  <a16:creationId xmlns:a16="http://schemas.microsoft.com/office/drawing/2014/main" id="{4198A05A-17DE-4871-8FCC-E75882CADA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52074" y="1933847"/>
              <a:ext cx="476178" cy="410500"/>
            </a:xfrm>
            <a:prstGeom prst="hexagon">
              <a:avLst/>
            </a:prstGeom>
            <a:solidFill>
              <a:srgbClr val="059D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7" name="TextBox 396">
              <a:extLst>
                <a:ext uri="{FF2B5EF4-FFF2-40B4-BE49-F238E27FC236}">
                  <a16:creationId xmlns:a16="http://schemas.microsoft.com/office/drawing/2014/main" id="{BBF04886-ECEA-4623-8DE8-94A68D5C70D8}"/>
                </a:ext>
              </a:extLst>
            </p:cNvPr>
            <p:cNvSpPr txBox="1"/>
            <p:nvPr/>
          </p:nvSpPr>
          <p:spPr>
            <a:xfrm>
              <a:off x="2236858" y="2024124"/>
              <a:ext cx="511679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folio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</a:t>
              </a:r>
            </a:p>
          </p:txBody>
        </p:sp>
        <p:pic>
          <p:nvPicPr>
            <p:cNvPr id="398" name="Graphic 397">
              <a:extLst>
                <a:ext uri="{FF2B5EF4-FFF2-40B4-BE49-F238E27FC236}">
                  <a16:creationId xmlns:a16="http://schemas.microsoft.com/office/drawing/2014/main" id="{CD5E4C28-3751-4004-AAE3-04ABC677AF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2524930" y="2238691"/>
              <a:ext cx="103909" cy="90921"/>
            </a:xfrm>
            <a:prstGeom prst="rect">
              <a:avLst/>
            </a:prstGeom>
          </p:spPr>
        </p:pic>
        <p:pic>
          <p:nvPicPr>
            <p:cNvPr id="399" name="Graphic 398">
              <a:extLst>
                <a:ext uri="{FF2B5EF4-FFF2-40B4-BE49-F238E27FC236}">
                  <a16:creationId xmlns:a16="http://schemas.microsoft.com/office/drawing/2014/main" id="{3177845C-51CC-456C-9777-AD628A918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4071151" y="3754227"/>
              <a:ext cx="105958" cy="79469"/>
            </a:xfrm>
            <a:prstGeom prst="rect">
              <a:avLst/>
            </a:prstGeom>
          </p:spPr>
        </p:pic>
        <p:pic>
          <p:nvPicPr>
            <p:cNvPr id="400" name="Graphic 399">
              <a:extLst>
                <a:ext uri="{FF2B5EF4-FFF2-40B4-BE49-F238E27FC236}">
                  <a16:creationId xmlns:a16="http://schemas.microsoft.com/office/drawing/2014/main" id="{B6650C10-7390-44F1-8F34-01C03F7139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lum bright="-100000"/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6804828" y="3137005"/>
              <a:ext cx="105958" cy="79469"/>
            </a:xfrm>
            <a:prstGeom prst="rect">
              <a:avLst/>
            </a:prstGeom>
          </p:spPr>
        </p:pic>
        <p:pic>
          <p:nvPicPr>
            <p:cNvPr id="401" name="Graphic 400">
              <a:extLst>
                <a:ext uri="{FF2B5EF4-FFF2-40B4-BE49-F238E27FC236}">
                  <a16:creationId xmlns:a16="http://schemas.microsoft.com/office/drawing/2014/main" id="{D135DFF4-1BE6-43AE-B180-163C9A0A1A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-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4489162" y="3758415"/>
              <a:ext cx="103909" cy="90921"/>
            </a:xfrm>
            <a:prstGeom prst="rect">
              <a:avLst/>
            </a:prstGeom>
          </p:spPr>
        </p:pic>
        <p:pic>
          <p:nvPicPr>
            <p:cNvPr id="402" name="Picture 4" descr="Autodesk - Wikipedia">
              <a:extLst>
                <a:ext uri="{FF2B5EF4-FFF2-40B4-BE49-F238E27FC236}">
                  <a16:creationId xmlns:a16="http://schemas.microsoft.com/office/drawing/2014/main" id="{3E574EC9-641E-43A8-9BB8-38DA4B51E49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764" t="42404" r="15652" b="41449"/>
            <a:stretch/>
          </p:blipFill>
          <p:spPr bwMode="auto">
            <a:xfrm rot="16200000">
              <a:off x="2000965" y="1709851"/>
              <a:ext cx="361521" cy="469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03" name="Straight Arrow Connector 402">
              <a:extLst>
                <a:ext uri="{FF2B5EF4-FFF2-40B4-BE49-F238E27FC236}">
                  <a16:creationId xmlns:a16="http://schemas.microsoft.com/office/drawing/2014/main" id="{97E96565-635F-409D-916D-A060F180D671}"/>
                </a:ext>
              </a:extLst>
            </p:cNvPr>
            <p:cNvCxnSpPr>
              <a:cxnSpLocks/>
            </p:cNvCxnSpPr>
            <p:nvPr/>
          </p:nvCxnSpPr>
          <p:spPr>
            <a:xfrm>
              <a:off x="3216231" y="3559530"/>
              <a:ext cx="0" cy="151030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4" name="Straight Arrow Connector 403">
              <a:extLst>
                <a:ext uri="{FF2B5EF4-FFF2-40B4-BE49-F238E27FC236}">
                  <a16:creationId xmlns:a16="http://schemas.microsoft.com/office/drawing/2014/main" id="{EACB5AF7-AD35-4714-BE53-A4EA0B2E64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07657" y="2911145"/>
              <a:ext cx="0" cy="144516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5" name="TextBox 404">
              <a:extLst>
                <a:ext uri="{FF2B5EF4-FFF2-40B4-BE49-F238E27FC236}">
                  <a16:creationId xmlns:a16="http://schemas.microsoft.com/office/drawing/2014/main" id="{620E9254-F470-452B-AA6D-2903C081CECD}"/>
                </a:ext>
              </a:extLst>
            </p:cNvPr>
            <p:cNvSpPr txBox="1"/>
            <p:nvPr/>
          </p:nvSpPr>
          <p:spPr>
            <a:xfrm>
              <a:off x="5996797" y="2747394"/>
              <a:ext cx="906376" cy="218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1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ufacturing</a:t>
              </a:r>
            </a:p>
          </p:txBody>
        </p:sp>
        <p:cxnSp>
          <p:nvCxnSpPr>
            <p:cNvPr id="406" name="Straight Arrow Connector 405">
              <a:extLst>
                <a:ext uri="{FF2B5EF4-FFF2-40B4-BE49-F238E27FC236}">
                  <a16:creationId xmlns:a16="http://schemas.microsoft.com/office/drawing/2014/main" id="{509876A8-5D82-447C-902D-698F3F35D2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51497" y="2925708"/>
              <a:ext cx="0" cy="147612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07" name="Graphic 406">
              <a:extLst>
                <a:ext uri="{FF2B5EF4-FFF2-40B4-BE49-F238E27FC236}">
                  <a16:creationId xmlns:a16="http://schemas.microsoft.com/office/drawing/2014/main" id="{FB18EEE5-84FC-4E53-9341-312F2B1767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6247408" y="2201213"/>
              <a:ext cx="103909" cy="90921"/>
            </a:xfrm>
            <a:prstGeom prst="rect">
              <a:avLst/>
            </a:prstGeom>
          </p:spPr>
        </p:pic>
        <p:pic>
          <p:nvPicPr>
            <p:cNvPr id="408" name="Graphic 407">
              <a:extLst>
                <a:ext uri="{FF2B5EF4-FFF2-40B4-BE49-F238E27FC236}">
                  <a16:creationId xmlns:a16="http://schemas.microsoft.com/office/drawing/2014/main" id="{FF8A6FEF-D649-4FEA-ACC6-0819649C03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6638205" y="1998471"/>
              <a:ext cx="103909" cy="90921"/>
            </a:xfrm>
            <a:prstGeom prst="rect">
              <a:avLst/>
            </a:prstGeom>
          </p:spPr>
        </p:pic>
        <p:pic>
          <p:nvPicPr>
            <p:cNvPr id="409" name="Graphic 408">
              <a:extLst>
                <a:ext uri="{FF2B5EF4-FFF2-40B4-BE49-F238E27FC236}">
                  <a16:creationId xmlns:a16="http://schemas.microsoft.com/office/drawing/2014/main" id="{A325BB21-EC3B-4C3E-AB69-BA1AB9FB1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6249925" y="1776622"/>
              <a:ext cx="103909" cy="90921"/>
            </a:xfrm>
            <a:prstGeom prst="rect">
              <a:avLst/>
            </a:prstGeom>
          </p:spPr>
        </p:pic>
        <p:cxnSp>
          <p:nvCxnSpPr>
            <p:cNvPr id="410" name="Straight Arrow Connector 409">
              <a:extLst>
                <a:ext uri="{FF2B5EF4-FFF2-40B4-BE49-F238E27FC236}">
                  <a16:creationId xmlns:a16="http://schemas.microsoft.com/office/drawing/2014/main" id="{48548BCD-5F04-4387-B503-0D8CD30D1C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38300" y="2931709"/>
              <a:ext cx="0" cy="123952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1" name="Hexagon 410">
              <a:extLst>
                <a:ext uri="{FF2B5EF4-FFF2-40B4-BE49-F238E27FC236}">
                  <a16:creationId xmlns:a16="http://schemas.microsoft.com/office/drawing/2014/main" id="{0597AB1A-9B54-4109-8B9C-41DCC3A085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06148" y="1311033"/>
              <a:ext cx="476178" cy="410500"/>
            </a:xfrm>
            <a:prstGeom prst="hexagon">
              <a:avLst/>
            </a:prstGeom>
            <a:solidFill>
              <a:srgbClr val="179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2" name="TextBox 411">
              <a:extLst>
                <a:ext uri="{FF2B5EF4-FFF2-40B4-BE49-F238E27FC236}">
                  <a16:creationId xmlns:a16="http://schemas.microsoft.com/office/drawing/2014/main" id="{3BB1DDFA-48BA-4FA7-8A4F-D386AE6ECB87}"/>
                </a:ext>
              </a:extLst>
            </p:cNvPr>
            <p:cNvSpPr txBox="1"/>
            <p:nvPr/>
          </p:nvSpPr>
          <p:spPr>
            <a:xfrm>
              <a:off x="7723649" y="1397482"/>
              <a:ext cx="449162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rvic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cheduling</a:t>
              </a:r>
            </a:p>
          </p:txBody>
        </p:sp>
        <p:pic>
          <p:nvPicPr>
            <p:cNvPr id="413" name="Graphic 412">
              <a:extLst>
                <a:ext uri="{FF2B5EF4-FFF2-40B4-BE49-F238E27FC236}">
                  <a16:creationId xmlns:a16="http://schemas.microsoft.com/office/drawing/2014/main" id="{E0E7CAFC-5D4B-4D41-A638-0C4315C352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7972001" y="1617766"/>
              <a:ext cx="105958" cy="79469"/>
            </a:xfrm>
            <a:prstGeom prst="rect">
              <a:avLst/>
            </a:prstGeom>
          </p:spPr>
        </p:pic>
        <p:cxnSp>
          <p:nvCxnSpPr>
            <p:cNvPr id="414" name="Straight Arrow Connector 413">
              <a:extLst>
                <a:ext uri="{FF2B5EF4-FFF2-40B4-BE49-F238E27FC236}">
                  <a16:creationId xmlns:a16="http://schemas.microsoft.com/office/drawing/2014/main" id="{52919C52-3B9E-43ED-B608-E2723F236D7A}"/>
                </a:ext>
              </a:extLst>
            </p:cNvPr>
            <p:cNvCxnSpPr>
              <a:cxnSpLocks/>
              <a:stCxn id="252" idx="3"/>
            </p:cNvCxnSpPr>
            <p:nvPr/>
          </p:nvCxnSpPr>
          <p:spPr>
            <a:xfrm>
              <a:off x="6972821" y="3309482"/>
              <a:ext cx="159193" cy="0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headEnd type="triangle" w="med" len="sm"/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5" name="Hexagon 414">
              <a:extLst>
                <a:ext uri="{FF2B5EF4-FFF2-40B4-BE49-F238E27FC236}">
                  <a16:creationId xmlns:a16="http://schemas.microsoft.com/office/drawing/2014/main" id="{D30A5B05-301F-410A-A637-0A3C8554DB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09089" y="1742826"/>
              <a:ext cx="476178" cy="410500"/>
            </a:xfrm>
            <a:prstGeom prst="hexagon">
              <a:avLst/>
            </a:prstGeom>
            <a:solidFill>
              <a:srgbClr val="179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6" name="TextBox 415">
              <a:extLst>
                <a:ext uri="{FF2B5EF4-FFF2-40B4-BE49-F238E27FC236}">
                  <a16:creationId xmlns:a16="http://schemas.microsoft.com/office/drawing/2014/main" id="{AB67BD0A-0713-41B3-8DAF-BA3B6BE90EF6}"/>
                </a:ext>
              </a:extLst>
            </p:cNvPr>
            <p:cNvSpPr txBox="1"/>
            <p:nvPr/>
          </p:nvSpPr>
          <p:spPr>
            <a:xfrm>
              <a:off x="7761053" y="1829276"/>
              <a:ext cx="380233" cy="2323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obile</a:t>
              </a:r>
            </a:p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rvices</a:t>
              </a:r>
            </a:p>
          </p:txBody>
        </p:sp>
        <p:pic>
          <p:nvPicPr>
            <p:cNvPr id="417" name="Graphic 416">
              <a:extLst>
                <a:ext uri="{FF2B5EF4-FFF2-40B4-BE49-F238E27FC236}">
                  <a16:creationId xmlns:a16="http://schemas.microsoft.com/office/drawing/2014/main" id="{EF46D58B-D45C-48A8-B03C-D4A14D211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7974942" y="2049560"/>
              <a:ext cx="105958" cy="79469"/>
            </a:xfrm>
            <a:prstGeom prst="rect">
              <a:avLst/>
            </a:prstGeom>
          </p:spPr>
        </p:pic>
        <p:sp>
          <p:nvSpPr>
            <p:cNvPr id="418" name="Hexagon 417">
              <a:extLst>
                <a:ext uri="{FF2B5EF4-FFF2-40B4-BE49-F238E27FC236}">
                  <a16:creationId xmlns:a16="http://schemas.microsoft.com/office/drawing/2014/main" id="{DA62A0CF-6B91-41B5-A9EA-69DE5320F4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05903" y="2176119"/>
              <a:ext cx="476178" cy="410500"/>
            </a:xfrm>
            <a:prstGeom prst="hexagon">
              <a:avLst/>
            </a:prstGeom>
            <a:solidFill>
              <a:srgbClr val="179C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9" name="TextBox 418">
              <a:extLst>
                <a:ext uri="{FF2B5EF4-FFF2-40B4-BE49-F238E27FC236}">
                  <a16:creationId xmlns:a16="http://schemas.microsoft.com/office/drawing/2014/main" id="{7C8169E2-B678-42DF-9E29-62A5CFA0BF1C}"/>
                </a:ext>
              </a:extLst>
            </p:cNvPr>
            <p:cNvSpPr txBox="1"/>
            <p:nvPr/>
          </p:nvSpPr>
          <p:spPr>
            <a:xfrm>
              <a:off x="7749425" y="2304259"/>
              <a:ext cx="393057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thers…</a:t>
              </a:r>
            </a:p>
          </p:txBody>
        </p:sp>
        <p:pic>
          <p:nvPicPr>
            <p:cNvPr id="420" name="Graphic 419">
              <a:extLst>
                <a:ext uri="{FF2B5EF4-FFF2-40B4-BE49-F238E27FC236}">
                  <a16:creationId xmlns:a16="http://schemas.microsoft.com/office/drawing/2014/main" id="{B1545E46-F904-4B6C-9329-19FE1955B2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lum bright="-100000"/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6800932" y="4517142"/>
              <a:ext cx="105958" cy="79469"/>
            </a:xfrm>
            <a:prstGeom prst="rect">
              <a:avLst/>
            </a:prstGeom>
          </p:spPr>
        </p:pic>
        <p:pic>
          <p:nvPicPr>
            <p:cNvPr id="421" name="Graphic 420">
              <a:extLst>
                <a:ext uri="{FF2B5EF4-FFF2-40B4-BE49-F238E27FC236}">
                  <a16:creationId xmlns:a16="http://schemas.microsoft.com/office/drawing/2014/main" id="{41F1C013-8D62-4670-909F-508AF6F073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-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4502622" y="4505588"/>
              <a:ext cx="103909" cy="90921"/>
            </a:xfrm>
            <a:prstGeom prst="rect">
              <a:avLst/>
            </a:prstGeom>
          </p:spPr>
        </p:pic>
        <p:pic>
          <p:nvPicPr>
            <p:cNvPr id="422" name="Graphic 421">
              <a:extLst>
                <a:ext uri="{FF2B5EF4-FFF2-40B4-BE49-F238E27FC236}">
                  <a16:creationId xmlns:a16="http://schemas.microsoft.com/office/drawing/2014/main" id="{FCEF68B5-E8B9-4260-8E8A-ECD0B0E65E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lum bright="100000"/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6620577" y="1558871"/>
              <a:ext cx="103909" cy="90921"/>
            </a:xfrm>
            <a:prstGeom prst="rect">
              <a:avLst/>
            </a:prstGeom>
          </p:spPr>
        </p:pic>
        <p:sp>
          <p:nvSpPr>
            <p:cNvPr id="423" name="Hexagon 422">
              <a:extLst>
                <a:ext uri="{FF2B5EF4-FFF2-40B4-BE49-F238E27FC236}">
                  <a16:creationId xmlns:a16="http://schemas.microsoft.com/office/drawing/2014/main" id="{A9BEC6A8-12AF-4F41-97B4-6DE5CD740C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57126" y="2373750"/>
              <a:ext cx="476178" cy="410500"/>
            </a:xfrm>
            <a:prstGeom prst="hexagon">
              <a:avLst/>
            </a:prstGeom>
            <a:solidFill>
              <a:srgbClr val="059D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5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4" name="TextBox 423">
              <a:extLst>
                <a:ext uri="{FF2B5EF4-FFF2-40B4-BE49-F238E27FC236}">
                  <a16:creationId xmlns:a16="http://schemas.microsoft.com/office/drawing/2014/main" id="{A5AB0273-8769-4EB9-AFC0-81F58EEA0D06}"/>
                </a:ext>
              </a:extLst>
            </p:cNvPr>
            <p:cNvSpPr txBox="1"/>
            <p:nvPr/>
          </p:nvSpPr>
          <p:spPr>
            <a:xfrm>
              <a:off x="2309652" y="2503783"/>
              <a:ext cx="393057" cy="1623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thers…</a:t>
              </a:r>
            </a:p>
          </p:txBody>
        </p:sp>
        <p:pic>
          <p:nvPicPr>
            <p:cNvPr id="425" name="Graphic 424">
              <a:extLst>
                <a:ext uri="{FF2B5EF4-FFF2-40B4-BE49-F238E27FC236}">
                  <a16:creationId xmlns:a16="http://schemas.microsoft.com/office/drawing/2014/main" id="{62CD1DA2-EAEA-4B65-A9A4-20739FB91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lum bright="-100000"/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6800931" y="3775188"/>
              <a:ext cx="105958" cy="79469"/>
            </a:xfrm>
            <a:prstGeom prst="rect">
              <a:avLst/>
            </a:prstGeom>
          </p:spPr>
        </p:pic>
        <p:sp>
          <p:nvSpPr>
            <p:cNvPr id="426" name="Rectangle 425">
              <a:extLst>
                <a:ext uri="{FF2B5EF4-FFF2-40B4-BE49-F238E27FC236}">
                  <a16:creationId xmlns:a16="http://schemas.microsoft.com/office/drawing/2014/main" id="{4CCE0269-6D65-415D-A7B8-A51AA2836332}"/>
                </a:ext>
              </a:extLst>
            </p:cNvPr>
            <p:cNvSpPr/>
            <p:nvPr/>
          </p:nvSpPr>
          <p:spPr>
            <a:xfrm>
              <a:off x="2038261" y="2972227"/>
              <a:ext cx="172842" cy="2034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pic>
          <p:nvPicPr>
            <p:cNvPr id="427" name="Graphic 426">
              <a:extLst>
                <a:ext uri="{FF2B5EF4-FFF2-40B4-BE49-F238E27FC236}">
                  <a16:creationId xmlns:a16="http://schemas.microsoft.com/office/drawing/2014/main" id="{7ED1FA89-8ACD-4F9D-9522-5BED0538B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 rot="10800000" flipV="1">
              <a:off x="3856122" y="1363240"/>
              <a:ext cx="105958" cy="79469"/>
            </a:xfrm>
            <a:prstGeom prst="rect">
              <a:avLst/>
            </a:prstGeom>
          </p:spPr>
        </p:pic>
        <p:sp>
          <p:nvSpPr>
            <p:cNvPr id="428" name="TextBox 427">
              <a:extLst>
                <a:ext uri="{FF2B5EF4-FFF2-40B4-BE49-F238E27FC236}">
                  <a16:creationId xmlns:a16="http://schemas.microsoft.com/office/drawing/2014/main" id="{8DC96A1C-C3DF-41E2-921C-291DA834B825}"/>
                </a:ext>
              </a:extLst>
            </p:cNvPr>
            <p:cNvSpPr txBox="1"/>
            <p:nvPr/>
          </p:nvSpPr>
          <p:spPr>
            <a:xfrm>
              <a:off x="515711" y="1133632"/>
              <a:ext cx="1462443" cy="36247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4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abling faster time to value through a cloud first approach and composable architecture guiding principles</a:t>
              </a:r>
            </a:p>
            <a:p>
              <a:pPr marL="207797" marR="0" lvl="0" indent="-207797" algn="l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r>
                <a:rPr kumimoji="0" lang="en-US" sz="909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odularity</a:t>
              </a:r>
              <a:r>
                <a:rPr kumimoji="0" lang="en-US" sz="909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to use best-in-class edge solutions and capabilities</a:t>
              </a:r>
            </a:p>
            <a:p>
              <a:pPr marL="207797" marR="0" lvl="0" indent="-207797" algn="l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r>
                <a:rPr kumimoji="0" lang="en-US" sz="909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mplified integration </a:t>
              </a:r>
              <a:r>
                <a:rPr kumimoji="0" lang="en-US" sz="909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rough API and micro-service focused strategy; </a:t>
              </a:r>
              <a:r>
                <a:rPr kumimoji="0" lang="en-US" sz="909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RP enhancements &amp; extensions </a:t>
              </a:r>
              <a:r>
                <a:rPr kumimoji="0" lang="en-US" sz="909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oved outside of the core &amp; into the application composition layer</a:t>
              </a:r>
            </a:p>
            <a:p>
              <a:pPr marL="207797" marR="0" lvl="0" indent="-207797" algn="l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r>
                <a:rPr kumimoji="0" lang="en-US" sz="909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lean, standard ERP core </a:t>
              </a:r>
              <a:r>
                <a:rPr kumimoji="0" lang="en-US" sz="909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o increase agility, reduce complexity </a:t>
              </a:r>
              <a:r>
                <a:rPr kumimoji="0" lang="en-US" sz="90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nd reduce </a:t>
              </a:r>
              <a:r>
                <a:rPr kumimoji="0" lang="en-US" sz="909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sts </a:t>
              </a:r>
            </a:p>
            <a:p>
              <a:pPr marL="207797" marR="0" lvl="0" indent="-207797" algn="l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endParaRPr kumimoji="0" lang="en-US" sz="90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2077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98" name="Picture 197">
              <a:extLst>
                <a:ext uri="{FF2B5EF4-FFF2-40B4-BE49-F238E27FC236}">
                  <a16:creationId xmlns:a16="http://schemas.microsoft.com/office/drawing/2014/main" id="{665DE972-9334-425E-8E35-4A3A4CEA40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>
              <a:extLst>
                <a:ext uri="{BEBA8EAE-BF5A-486C-A8C5-ECC9F3942E4B}">
                  <a14:imgProps xmlns:a14="http://schemas.microsoft.com/office/drawing/2010/main">
                    <a14:imgLayer r:embed="rId3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611152" y="3737550"/>
              <a:ext cx="1182626" cy="1280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2074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8A04CB-FDC5-4256-9DA2-C3B783AE68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56197">
              <a:defRPr/>
            </a:pPr>
            <a:fld id="{81D60167-4931-47E6-BA6A-407CBD079E47}" type="slidenum">
              <a:rPr lang="en-US" spc="-4" smtClean="0">
                <a:solidFill>
                  <a:prstClr val="black"/>
                </a:solidFill>
                <a:cs typeface="Verdana"/>
              </a:rPr>
              <a:pPr marL="56197">
                <a:defRPr/>
              </a:pPr>
              <a:t>2</a:t>
            </a:fld>
            <a:endParaRPr lang="en-US" spc="-4">
              <a:solidFill>
                <a:prstClr val="black"/>
              </a:solidFill>
              <a:cs typeface="Verdan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3C9DAD-4B05-484B-A7C8-A83ACF650715}"/>
              </a:ext>
            </a:extLst>
          </p:cNvPr>
          <p:cNvSpPr/>
          <p:nvPr/>
        </p:nvSpPr>
        <p:spPr bwMode="auto">
          <a:xfrm>
            <a:off x="5519651" y="0"/>
            <a:ext cx="3624349" cy="51435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Subtitle 5">
            <a:extLst>
              <a:ext uri="{FF2B5EF4-FFF2-40B4-BE49-F238E27FC236}">
                <a16:creationId xmlns:a16="http://schemas.microsoft.com/office/drawing/2014/main" id="{3324CA45-FB23-4C8C-879A-105D88944DB8}"/>
              </a:ext>
            </a:extLst>
          </p:cNvPr>
          <p:cNvSpPr txBox="1">
            <a:spLocks/>
          </p:cNvSpPr>
          <p:nvPr/>
        </p:nvSpPr>
        <p:spPr>
          <a:xfrm>
            <a:off x="6375328" y="2228850"/>
            <a:ext cx="1912992" cy="1007936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spcBef>
                <a:spcPct val="0"/>
              </a:spcBef>
              <a:spcAft>
                <a:spcPts val="1338"/>
              </a:spcAft>
              <a:buSzPct val="100000"/>
              <a:buFont typeface="Arial" panose="020B0604020202020204" pitchFamily="34" charset="0"/>
              <a:defRPr sz="10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defTabSz="1217613" rtl="0" eaLnBrk="1" fontAlgn="base" hangingPunct="1">
              <a:spcBef>
                <a:spcPct val="0"/>
              </a:spcBef>
              <a:spcAft>
                <a:spcPts val="1338"/>
              </a:spcAft>
              <a:buSzPct val="100000"/>
              <a:buFont typeface="Arial" panose="020B0604020202020204" pitchFamily="34" charset="0"/>
              <a:defRPr lang="en-US" sz="1000" b="1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234950" indent="-234950" algn="l" defTabSz="1217613" rtl="0" eaLnBrk="1" fontAlgn="base" hangingPunct="1">
              <a:spcBef>
                <a:spcPct val="0"/>
              </a:spcBef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lang="en-US" sz="10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474663" indent="-234950" algn="l" defTabSz="1217613" rtl="0" eaLnBrk="1" fontAlgn="base" hangingPunct="1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lang="en-US" sz="10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09613" indent="-234950" algn="l" defTabSz="1063625" rtl="0" eaLnBrk="1" fontAlgn="base" hangingPunct="1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lang="en-US" sz="1000" kern="120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7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338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Times New Roman" panose="02020603050405020304" pitchFamily="18" charset="0"/>
              </a:rPr>
              <a:t>Agenda</a:t>
            </a:r>
          </a:p>
        </p:txBody>
      </p:sp>
      <p:sp>
        <p:nvSpPr>
          <p:cNvPr id="2" name="object 6">
            <a:extLst>
              <a:ext uri="{FF2B5EF4-FFF2-40B4-BE49-F238E27FC236}">
                <a16:creationId xmlns:a16="http://schemas.microsoft.com/office/drawing/2014/main" id="{CBF0B5E8-4E56-2008-1023-DE9AE7F084E1}"/>
              </a:ext>
            </a:extLst>
          </p:cNvPr>
          <p:cNvSpPr txBox="1"/>
          <p:nvPr/>
        </p:nvSpPr>
        <p:spPr>
          <a:xfrm>
            <a:off x="457199" y="1603646"/>
            <a:ext cx="4962699" cy="2150717"/>
          </a:xfrm>
          <a:prstGeom prst="rect">
            <a:avLst/>
          </a:prstGeom>
        </p:spPr>
        <p:txBody>
          <a:bodyPr vert="horz" wrap="square" lIns="0" tIns="86360" rIns="0" bIns="0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 dirty="0">
                <a:cs typeface="Times New Roman"/>
              </a:rPr>
              <a:t>Program Overvie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 dirty="0">
                <a:cs typeface="Times New Roman"/>
              </a:rPr>
              <a:t>Landscape Overvie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 dirty="0">
                <a:cs typeface="Times New Roman"/>
              </a:rPr>
              <a:t>Composable Approac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 dirty="0">
                <a:cs typeface="Times New Roman"/>
              </a:rPr>
              <a:t>Order Hub Overvie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 dirty="0">
                <a:cs typeface="Times New Roman"/>
              </a:rPr>
              <a:t>MVP Integra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 dirty="0">
                <a:cs typeface="Times New Roman"/>
              </a:rPr>
              <a:t>New Capabiliti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300" dirty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16279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42B2A9-2282-CFE7-5F1A-6665F7886F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D438C-DB3B-99C4-8946-651A2EB6B2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SA Order Hub Overview</a:t>
            </a:r>
          </a:p>
        </p:txBody>
      </p:sp>
    </p:spTree>
    <p:extLst>
      <p:ext uri="{BB962C8B-B14F-4D97-AF65-F5344CB8AC3E}">
        <p14:creationId xmlns:p14="http://schemas.microsoft.com/office/powerpoint/2010/main" val="5958986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Rectangle 253">
            <a:extLst>
              <a:ext uri="{FF2B5EF4-FFF2-40B4-BE49-F238E27FC236}">
                <a16:creationId xmlns:a16="http://schemas.microsoft.com/office/drawing/2014/main" id="{A38EDE72-C7E9-4A0E-97BB-78F6E044950B}"/>
              </a:ext>
            </a:extLst>
          </p:cNvPr>
          <p:cNvSpPr/>
          <p:nvPr/>
        </p:nvSpPr>
        <p:spPr>
          <a:xfrm>
            <a:off x="4939829" y="1869484"/>
            <a:ext cx="767718" cy="1690994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8A0890FC-6A66-404C-98B4-D593BA4753E1}"/>
              </a:ext>
            </a:extLst>
          </p:cNvPr>
          <p:cNvSpPr/>
          <p:nvPr/>
        </p:nvSpPr>
        <p:spPr>
          <a:xfrm>
            <a:off x="7799119" y="2956651"/>
            <a:ext cx="804180" cy="941395"/>
          </a:xfrm>
          <a:prstGeom prst="rect">
            <a:avLst/>
          </a:prstGeom>
          <a:solidFill>
            <a:srgbClr val="00285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Process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F08C94-4076-4AD7-80C1-297625BC7D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005" y="1073727"/>
            <a:ext cx="2076925" cy="3311237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rtl="0" fontAlgn="ctr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b="1">
                <a:solidFill>
                  <a:srgbClr val="3B9FFF"/>
                </a:solidFill>
                <a:effectLst/>
                <a:latin typeface="+mj-lt"/>
              </a:rPr>
              <a:t>Simplifies </a:t>
            </a:r>
            <a:r>
              <a:rPr lang="en-US" sz="1050">
                <a:effectLst/>
                <a:latin typeface="+mj-lt"/>
              </a:rPr>
              <a:t>order entry for the customer</a:t>
            </a:r>
          </a:p>
          <a:p>
            <a:pPr fontAlgn="ctr">
              <a:spcBef>
                <a:spcPts val="600"/>
              </a:spcBef>
            </a:pPr>
            <a:r>
              <a:rPr lang="en-US" sz="1050" b="1">
                <a:solidFill>
                  <a:srgbClr val="3B9FFF"/>
                </a:solidFill>
              </a:rPr>
              <a:t>Adds</a:t>
            </a:r>
            <a:r>
              <a:rPr lang="en-US" sz="1050"/>
              <a:t> new microservices &amp; APIs; also defines sales and I/C packaged business capabilities (PCBs)</a:t>
            </a:r>
          </a:p>
          <a:p>
            <a:pPr marL="342900" rtl="0" fontAlgn="ctr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b="1">
                <a:solidFill>
                  <a:srgbClr val="3B9FFF"/>
                </a:solidFill>
                <a:effectLst/>
                <a:latin typeface="+mj-lt"/>
              </a:rPr>
              <a:t>Leverages &amp; improves </a:t>
            </a:r>
            <a:r>
              <a:rPr lang="en-US" sz="1050">
                <a:effectLst/>
                <a:latin typeface="+mj-lt"/>
              </a:rPr>
              <a:t>existing intercompany transaction processes</a:t>
            </a:r>
          </a:p>
          <a:p>
            <a:pPr marL="342900" rtl="0" fontAlgn="ctr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b="1">
                <a:solidFill>
                  <a:srgbClr val="3B9FFF"/>
                </a:solidFill>
                <a:effectLst/>
                <a:latin typeface="+mj-lt"/>
              </a:rPr>
              <a:t>Enables</a:t>
            </a:r>
            <a:r>
              <a:rPr lang="en-US" sz="1050">
                <a:effectLst/>
                <a:latin typeface="+mj-lt"/>
              </a:rPr>
              <a:t> rapid edge deployment for sales processes through reduced integration complexity</a:t>
            </a:r>
          </a:p>
          <a:p>
            <a:pPr fontAlgn="ctr">
              <a:spcBef>
                <a:spcPts val="600"/>
              </a:spcBef>
            </a:pPr>
            <a:r>
              <a:rPr lang="en-US" sz="1050" b="1">
                <a:solidFill>
                  <a:srgbClr val="3B9FFF"/>
                </a:solidFill>
              </a:rPr>
              <a:t>Standardizes</a:t>
            </a:r>
            <a:r>
              <a:rPr lang="en-US" sz="1050"/>
              <a:t> order management, order entry, &amp; I/C purchasing for the operational backbone</a:t>
            </a:r>
          </a:p>
          <a:p>
            <a:pPr marL="342900" rtl="0" fontAlgn="ctr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50">
              <a:effectLst/>
              <a:latin typeface="+mj-lt"/>
            </a:endParaRPr>
          </a:p>
          <a:p>
            <a:pPr marL="342900" rtl="0" fontAlgn="ctr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050">
              <a:effectLst/>
              <a:latin typeface="+mj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7150E3-FF83-4C55-BB2C-91089CE42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0649" y="4767263"/>
            <a:ext cx="2133600" cy="27384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D9D93B3-31B3-4A54-AEAD-665544661101}"/>
              </a:ext>
            </a:extLst>
          </p:cNvPr>
          <p:cNvSpPr txBox="1">
            <a:spLocks/>
          </p:cNvSpPr>
          <p:nvPr/>
        </p:nvSpPr>
        <p:spPr>
          <a:xfrm>
            <a:off x="457200" y="76056"/>
            <a:ext cx="8229600" cy="627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rder Hub Overview</a:t>
            </a:r>
            <a:endParaRPr kumimoji="0" lang="en-US" sz="2400" b="0" i="1" u="none" strike="noStrike" kern="1200" cap="none" spc="0" normalizeH="0" baseline="0" noProof="0" dirty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913C96DF-E891-4212-9526-9DE800945D63}"/>
              </a:ext>
            </a:extLst>
          </p:cNvPr>
          <p:cNvSpPr txBox="1">
            <a:spLocks/>
          </p:cNvSpPr>
          <p:nvPr/>
        </p:nvSpPr>
        <p:spPr>
          <a:xfrm>
            <a:off x="6420649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F6105A-2DA6-4371-A1E1-EFAA83A70DF4}"/>
              </a:ext>
            </a:extLst>
          </p:cNvPr>
          <p:cNvSpPr/>
          <p:nvPr/>
        </p:nvSpPr>
        <p:spPr>
          <a:xfrm>
            <a:off x="3474354" y="1869484"/>
            <a:ext cx="1271183" cy="168390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5AE1C2D4-014A-4DB3-A29B-869BE5E62E03}"/>
              </a:ext>
            </a:extLst>
          </p:cNvPr>
          <p:cNvSpPr>
            <a:spLocks noChangeAspect="1"/>
          </p:cNvSpPr>
          <p:nvPr/>
        </p:nvSpPr>
        <p:spPr>
          <a:xfrm>
            <a:off x="3682204" y="2604557"/>
            <a:ext cx="523796" cy="451550"/>
          </a:xfrm>
          <a:prstGeom prst="hexagon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756FA4A0-B658-49A4-B160-4B8548313058}"/>
              </a:ext>
            </a:extLst>
          </p:cNvPr>
          <p:cNvSpPr>
            <a:spLocks noChangeAspect="1"/>
          </p:cNvSpPr>
          <p:nvPr/>
        </p:nvSpPr>
        <p:spPr>
          <a:xfrm>
            <a:off x="3691396" y="2126670"/>
            <a:ext cx="523796" cy="451550"/>
          </a:xfrm>
          <a:prstGeom prst="hexagon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F22137-C507-4C33-8539-47553DCAE1C2}"/>
              </a:ext>
            </a:extLst>
          </p:cNvPr>
          <p:cNvSpPr txBox="1"/>
          <p:nvPr/>
        </p:nvSpPr>
        <p:spPr>
          <a:xfrm>
            <a:off x="3743524" y="2225356"/>
            <a:ext cx="4251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rder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aptu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8325FA6-B8F3-42AC-88E4-1F57E32918F1}"/>
              </a:ext>
            </a:extLst>
          </p:cNvPr>
          <p:cNvSpPr txBox="1"/>
          <p:nvPr/>
        </p:nvSpPr>
        <p:spPr>
          <a:xfrm>
            <a:off x="3658481" y="2644183"/>
            <a:ext cx="57259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duc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nte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anagem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F5679E-E6B3-468E-AEB2-CB78C785228D}"/>
              </a:ext>
            </a:extLst>
          </p:cNvPr>
          <p:cNvSpPr/>
          <p:nvPr/>
        </p:nvSpPr>
        <p:spPr>
          <a:xfrm>
            <a:off x="3474354" y="1060075"/>
            <a:ext cx="1271183" cy="785481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Hexagon 19">
            <a:extLst>
              <a:ext uri="{FF2B5EF4-FFF2-40B4-BE49-F238E27FC236}">
                <a16:creationId xmlns:a16="http://schemas.microsoft.com/office/drawing/2014/main" id="{9DC9DEBE-8EB7-4B69-8B4B-0055C6C8FEC7}"/>
              </a:ext>
            </a:extLst>
          </p:cNvPr>
          <p:cNvSpPr>
            <a:spLocks noChangeAspect="1"/>
          </p:cNvSpPr>
          <p:nvPr/>
        </p:nvSpPr>
        <p:spPr>
          <a:xfrm>
            <a:off x="4120626" y="2850523"/>
            <a:ext cx="523796" cy="451550"/>
          </a:xfrm>
          <a:prstGeom prst="hexagon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05AA21-28C1-4005-8A27-DBDBB98866AD}"/>
              </a:ext>
            </a:extLst>
          </p:cNvPr>
          <p:cNvSpPr txBox="1"/>
          <p:nvPr/>
        </p:nvSpPr>
        <p:spPr>
          <a:xfrm>
            <a:off x="4158331" y="2978218"/>
            <a:ext cx="453970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thers…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D23C80-BDB6-4FAA-B102-2EB4200DC136}"/>
              </a:ext>
            </a:extLst>
          </p:cNvPr>
          <p:cNvSpPr txBox="1"/>
          <p:nvPr/>
        </p:nvSpPr>
        <p:spPr>
          <a:xfrm>
            <a:off x="3691390" y="3329646"/>
            <a:ext cx="8451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Commerce</a:t>
            </a:r>
          </a:p>
        </p:txBody>
      </p:sp>
      <p:sp>
        <p:nvSpPr>
          <p:cNvPr id="24" name="Callout: Line with Accent Bar 23">
            <a:extLst>
              <a:ext uri="{FF2B5EF4-FFF2-40B4-BE49-F238E27FC236}">
                <a16:creationId xmlns:a16="http://schemas.microsoft.com/office/drawing/2014/main" id="{36555702-D4F8-4420-9AEE-66DA0E9F4F03}"/>
              </a:ext>
            </a:extLst>
          </p:cNvPr>
          <p:cNvSpPr/>
          <p:nvPr/>
        </p:nvSpPr>
        <p:spPr>
          <a:xfrm>
            <a:off x="4612301" y="785605"/>
            <a:ext cx="1271183" cy="323165"/>
          </a:xfrm>
          <a:prstGeom prst="accentCallout1">
            <a:avLst>
              <a:gd name="adj1" fmla="val 46840"/>
              <a:gd name="adj2" fmla="val 96503"/>
              <a:gd name="adj3" fmla="val 73807"/>
              <a:gd name="adj4" fmla="val 143430"/>
            </a:avLst>
          </a:prstGeom>
          <a:noFill/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~30% of revenue &amp; ~25% of lines are entered manually</a:t>
            </a:r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6EA946DA-F1DA-476F-8D81-E5A7E64983A1}"/>
              </a:ext>
            </a:extLst>
          </p:cNvPr>
          <p:cNvSpPr>
            <a:spLocks noChangeAspect="1"/>
          </p:cNvSpPr>
          <p:nvPr/>
        </p:nvSpPr>
        <p:spPr>
          <a:xfrm>
            <a:off x="3835750" y="1168932"/>
            <a:ext cx="523796" cy="45155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D00D0E1-B9AF-4A62-AE80-DB2C2D3F11EF}"/>
              </a:ext>
            </a:extLst>
          </p:cNvPr>
          <p:cNvSpPr txBox="1"/>
          <p:nvPr/>
        </p:nvSpPr>
        <p:spPr>
          <a:xfrm>
            <a:off x="3833794" y="1233125"/>
            <a:ext cx="52770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DI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apping 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cess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8D6AAB9-8E31-46BD-8C4D-44CAED140EBE}"/>
              </a:ext>
            </a:extLst>
          </p:cNvPr>
          <p:cNvSpPr txBox="1"/>
          <p:nvPr/>
        </p:nvSpPr>
        <p:spPr>
          <a:xfrm>
            <a:off x="3909135" y="1626133"/>
            <a:ext cx="377027" cy="2328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DI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95FFF1E-FCDE-44F8-9984-952A44276F98}"/>
              </a:ext>
            </a:extLst>
          </p:cNvPr>
          <p:cNvGrpSpPr/>
          <p:nvPr/>
        </p:nvGrpSpPr>
        <p:grpSpPr>
          <a:xfrm>
            <a:off x="3329891" y="2433488"/>
            <a:ext cx="311948" cy="311944"/>
            <a:chOff x="4909409" y="1218098"/>
            <a:chExt cx="311948" cy="311944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2748C95-108F-40CE-BCF5-867402C1F3FA}"/>
                </a:ext>
              </a:extLst>
            </p:cNvPr>
            <p:cNvSpPr/>
            <p:nvPr/>
          </p:nvSpPr>
          <p:spPr>
            <a:xfrm>
              <a:off x="4909409" y="1218098"/>
              <a:ext cx="311948" cy="311944"/>
            </a:xfrm>
            <a:prstGeom prst="ellipse">
              <a:avLst/>
            </a:prstGeom>
            <a:solidFill>
              <a:srgbClr val="3B9FF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3506B19-3EA8-492C-B372-EB2D2A4315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49541" y="1258229"/>
              <a:ext cx="231685" cy="2316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09DFD758-375F-49BE-993F-946C8D99E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019774" y="1313258"/>
              <a:ext cx="91219" cy="121624"/>
            </a:xfrm>
            <a:prstGeom prst="rect">
              <a:avLst/>
            </a:prstGeom>
          </p:spPr>
        </p:pic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4889EB8D-8B49-4424-BE31-8EFABAA5BFDA}"/>
              </a:ext>
            </a:extLst>
          </p:cNvPr>
          <p:cNvGrpSpPr/>
          <p:nvPr/>
        </p:nvGrpSpPr>
        <p:grpSpPr>
          <a:xfrm>
            <a:off x="2625527" y="2337547"/>
            <a:ext cx="557215" cy="512920"/>
            <a:chOff x="2090019" y="2094869"/>
            <a:chExt cx="557215" cy="512920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7C7F7A2-CCB3-474B-9A0E-DA7BFC367AA7}"/>
                </a:ext>
              </a:extLst>
            </p:cNvPr>
            <p:cNvSpPr txBox="1"/>
            <p:nvPr/>
          </p:nvSpPr>
          <p:spPr>
            <a:xfrm>
              <a:off x="2090019" y="2218209"/>
              <a:ext cx="35939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Orde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Entry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52371C2-EDA8-4B91-A6C7-A22E6B4C22CE}"/>
                </a:ext>
              </a:extLst>
            </p:cNvPr>
            <p:cNvSpPr/>
            <p:nvPr/>
          </p:nvSpPr>
          <p:spPr>
            <a:xfrm>
              <a:off x="2134308" y="2094869"/>
              <a:ext cx="512926" cy="512920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3295510-CE04-4E60-9263-614A2FA8C827}"/>
                </a:ext>
              </a:extLst>
            </p:cNvPr>
            <p:cNvSpPr txBox="1"/>
            <p:nvPr/>
          </p:nvSpPr>
          <p:spPr>
            <a:xfrm>
              <a:off x="2153236" y="2184501"/>
              <a:ext cx="482824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Custome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Orde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Entry</a:t>
              </a:r>
            </a:p>
          </p:txBody>
        </p:sp>
      </p:grpSp>
      <p:cxnSp>
        <p:nvCxnSpPr>
          <p:cNvPr id="36" name="Straight Arrow Connector 55">
            <a:extLst>
              <a:ext uri="{FF2B5EF4-FFF2-40B4-BE49-F238E27FC236}">
                <a16:creationId xmlns:a16="http://schemas.microsoft.com/office/drawing/2014/main" id="{6C0D7E58-20F8-4382-8397-A677F3794101}"/>
              </a:ext>
            </a:extLst>
          </p:cNvPr>
          <p:cNvCxnSpPr>
            <a:cxnSpLocks/>
            <a:stCxn id="30" idx="2"/>
            <a:endCxn id="34" idx="6"/>
          </p:cNvCxnSpPr>
          <p:nvPr/>
        </p:nvCxnSpPr>
        <p:spPr>
          <a:xfrm flipH="1">
            <a:off x="3182742" y="2589460"/>
            <a:ext cx="147149" cy="4547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headEnd type="triangle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FA5D41CF-9DF2-4594-AE3D-734557361B36}"/>
              </a:ext>
            </a:extLst>
          </p:cNvPr>
          <p:cNvSpPr/>
          <p:nvPr/>
        </p:nvSpPr>
        <p:spPr>
          <a:xfrm>
            <a:off x="5964142" y="1100829"/>
            <a:ext cx="1709182" cy="2059297"/>
          </a:xfrm>
          <a:prstGeom prst="rect">
            <a:avLst/>
          </a:prstGeom>
          <a:solidFill>
            <a:srgbClr val="00285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      ERP</a:t>
            </a:r>
          </a:p>
        </p:txBody>
      </p:sp>
      <p:pic>
        <p:nvPicPr>
          <p:cNvPr id="47" name="Bild 3">
            <a:extLst>
              <a:ext uri="{FF2B5EF4-FFF2-40B4-BE49-F238E27FC236}">
                <a16:creationId xmlns:a16="http://schemas.microsoft.com/office/drawing/2014/main" id="{F9F473B6-1DDD-4BDB-B09E-B6D9A9BD858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0975" y="2958880"/>
            <a:ext cx="304569" cy="150255"/>
          </a:xfrm>
          <a:prstGeom prst="rect">
            <a:avLst/>
          </a:prstGeom>
        </p:spPr>
      </p:pic>
      <p:sp>
        <p:nvSpPr>
          <p:cNvPr id="50" name="Hexagon 49">
            <a:extLst>
              <a:ext uri="{FF2B5EF4-FFF2-40B4-BE49-F238E27FC236}">
                <a16:creationId xmlns:a16="http://schemas.microsoft.com/office/drawing/2014/main" id="{B36FBCBC-BEED-4E4A-A97D-78BF452C6BDD}"/>
              </a:ext>
            </a:extLst>
          </p:cNvPr>
          <p:cNvSpPr>
            <a:spLocks noChangeAspect="1"/>
          </p:cNvSpPr>
          <p:nvPr/>
        </p:nvSpPr>
        <p:spPr>
          <a:xfrm>
            <a:off x="6547467" y="1495686"/>
            <a:ext cx="523796" cy="45155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4712FAE-3CF8-4E93-A642-DF8EC992B514}"/>
              </a:ext>
            </a:extLst>
          </p:cNvPr>
          <p:cNvSpPr txBox="1"/>
          <p:nvPr/>
        </p:nvSpPr>
        <p:spPr>
          <a:xfrm>
            <a:off x="6528724" y="1594462"/>
            <a:ext cx="5725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gistics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anagement</a:t>
            </a:r>
          </a:p>
        </p:txBody>
      </p:sp>
      <p:sp>
        <p:nvSpPr>
          <p:cNvPr id="52" name="Hexagon 51">
            <a:extLst>
              <a:ext uri="{FF2B5EF4-FFF2-40B4-BE49-F238E27FC236}">
                <a16:creationId xmlns:a16="http://schemas.microsoft.com/office/drawing/2014/main" id="{745CD140-DCAC-4E6D-95BD-F49A76493413}"/>
              </a:ext>
            </a:extLst>
          </p:cNvPr>
          <p:cNvSpPr>
            <a:spLocks noChangeAspect="1"/>
          </p:cNvSpPr>
          <p:nvPr/>
        </p:nvSpPr>
        <p:spPr>
          <a:xfrm>
            <a:off x="6978909" y="2225149"/>
            <a:ext cx="523796" cy="451550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5C8D5D1-9FED-4A91-8156-C9683138FF94}"/>
              </a:ext>
            </a:extLst>
          </p:cNvPr>
          <p:cNvSpPr txBox="1"/>
          <p:nvPr/>
        </p:nvSpPr>
        <p:spPr>
          <a:xfrm>
            <a:off x="6946885" y="2323925"/>
            <a:ext cx="601448" cy="2704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tercompany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R &amp; AP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56CF238-DB75-4E0A-9684-E80CA0ED3129}"/>
              </a:ext>
            </a:extLst>
          </p:cNvPr>
          <p:cNvSpPr/>
          <p:nvPr/>
        </p:nvSpPr>
        <p:spPr>
          <a:xfrm>
            <a:off x="5968254" y="3202857"/>
            <a:ext cx="804180" cy="1864589"/>
          </a:xfrm>
          <a:prstGeom prst="rect">
            <a:avLst/>
          </a:prstGeom>
          <a:solidFill>
            <a:srgbClr val="00285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ta</a:t>
            </a:r>
          </a:p>
        </p:txBody>
      </p:sp>
      <p:sp>
        <p:nvSpPr>
          <p:cNvPr id="55" name="Hexagon 54">
            <a:extLst>
              <a:ext uri="{FF2B5EF4-FFF2-40B4-BE49-F238E27FC236}">
                <a16:creationId xmlns:a16="http://schemas.microsoft.com/office/drawing/2014/main" id="{575FF8D1-BD1E-48CD-8F57-3438AC300C6B}"/>
              </a:ext>
            </a:extLst>
          </p:cNvPr>
          <p:cNvSpPr>
            <a:spLocks noChangeAspect="1"/>
          </p:cNvSpPr>
          <p:nvPr/>
        </p:nvSpPr>
        <p:spPr>
          <a:xfrm>
            <a:off x="6119100" y="3835214"/>
            <a:ext cx="523796" cy="45155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5F9CFC-9D8C-41B6-970C-456CA259D180}"/>
              </a:ext>
            </a:extLst>
          </p:cNvPr>
          <p:cNvSpPr txBox="1"/>
          <p:nvPr/>
        </p:nvSpPr>
        <p:spPr>
          <a:xfrm>
            <a:off x="6103457" y="3919422"/>
            <a:ext cx="572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rder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anagemen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D8E2AC1-259D-4564-93CE-867F079C387C}"/>
              </a:ext>
            </a:extLst>
          </p:cNvPr>
          <p:cNvSpPr/>
          <p:nvPr/>
        </p:nvSpPr>
        <p:spPr>
          <a:xfrm>
            <a:off x="6869144" y="3208528"/>
            <a:ext cx="804180" cy="1858918"/>
          </a:xfrm>
          <a:prstGeom prst="rect">
            <a:avLst/>
          </a:prstGeom>
          <a:solidFill>
            <a:srgbClr val="00285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PICS / WM</a:t>
            </a:r>
          </a:p>
        </p:txBody>
      </p:sp>
      <p:sp>
        <p:nvSpPr>
          <p:cNvPr id="59" name="Hexagon 58">
            <a:extLst>
              <a:ext uri="{FF2B5EF4-FFF2-40B4-BE49-F238E27FC236}">
                <a16:creationId xmlns:a16="http://schemas.microsoft.com/office/drawing/2014/main" id="{3DEAC8BC-4075-4B65-ACA4-C9D10EA3D61E}"/>
              </a:ext>
            </a:extLst>
          </p:cNvPr>
          <p:cNvSpPr>
            <a:spLocks noChangeAspect="1"/>
          </p:cNvSpPr>
          <p:nvPr/>
        </p:nvSpPr>
        <p:spPr>
          <a:xfrm>
            <a:off x="7008723" y="3842588"/>
            <a:ext cx="523796" cy="45155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B12566A-753C-44E2-BAA3-A726696F2D4C}"/>
              </a:ext>
            </a:extLst>
          </p:cNvPr>
          <p:cNvSpPr txBox="1"/>
          <p:nvPr/>
        </p:nvSpPr>
        <p:spPr>
          <a:xfrm>
            <a:off x="6982768" y="3926796"/>
            <a:ext cx="5829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gistics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anagement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30F753DB-F1F4-40AF-9DEB-664651FA9112}"/>
              </a:ext>
            </a:extLst>
          </p:cNvPr>
          <p:cNvCxnSpPr>
            <a:cxnSpLocks/>
            <a:stCxn id="55" idx="0"/>
            <a:endCxn id="59" idx="3"/>
          </p:cNvCxnSpPr>
          <p:nvPr/>
        </p:nvCxnSpPr>
        <p:spPr>
          <a:xfrm>
            <a:off x="6642896" y="4060989"/>
            <a:ext cx="365827" cy="7374"/>
          </a:xfrm>
          <a:prstGeom prst="straightConnector1">
            <a:avLst/>
          </a:prstGeom>
          <a:ln w="12700">
            <a:solidFill>
              <a:srgbClr val="A6A6A6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EB2691B8-892B-40E7-951B-0028DC477CCD}"/>
              </a:ext>
            </a:extLst>
          </p:cNvPr>
          <p:cNvCxnSpPr>
            <a:cxnSpLocks/>
            <a:stCxn id="30" idx="6"/>
          </p:cNvCxnSpPr>
          <p:nvPr/>
        </p:nvCxnSpPr>
        <p:spPr>
          <a:xfrm flipV="1">
            <a:off x="3641839" y="2466532"/>
            <a:ext cx="118883" cy="122928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Hexagon 62">
            <a:extLst>
              <a:ext uri="{FF2B5EF4-FFF2-40B4-BE49-F238E27FC236}">
                <a16:creationId xmlns:a16="http://schemas.microsoft.com/office/drawing/2014/main" id="{518DB7F6-3DDF-4709-BA94-E96EBA2F7EF4}"/>
              </a:ext>
            </a:extLst>
          </p:cNvPr>
          <p:cNvSpPr>
            <a:spLocks noChangeAspect="1"/>
          </p:cNvSpPr>
          <p:nvPr/>
        </p:nvSpPr>
        <p:spPr>
          <a:xfrm>
            <a:off x="6118097" y="4322861"/>
            <a:ext cx="523796" cy="451550"/>
          </a:xfrm>
          <a:prstGeom prst="hexagon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4078656-EFAF-466E-BEA9-346F6B8C9841}"/>
              </a:ext>
            </a:extLst>
          </p:cNvPr>
          <p:cNvSpPr txBox="1"/>
          <p:nvPr/>
        </p:nvSpPr>
        <p:spPr>
          <a:xfrm>
            <a:off x="6102454" y="4464416"/>
            <a:ext cx="549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illing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98F05A7-74F2-40FB-8EE0-6D2CC0CA0E24}"/>
              </a:ext>
            </a:extLst>
          </p:cNvPr>
          <p:cNvCxnSpPr>
            <a:cxnSpLocks/>
          </p:cNvCxnSpPr>
          <p:nvPr/>
        </p:nvCxnSpPr>
        <p:spPr>
          <a:xfrm flipH="1">
            <a:off x="6589525" y="4194029"/>
            <a:ext cx="477192" cy="262982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headEnd type="non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Hexagon 65">
            <a:extLst>
              <a:ext uri="{FF2B5EF4-FFF2-40B4-BE49-F238E27FC236}">
                <a16:creationId xmlns:a16="http://schemas.microsoft.com/office/drawing/2014/main" id="{5A507486-9831-4157-A3C4-B66A9486264E}"/>
              </a:ext>
            </a:extLst>
          </p:cNvPr>
          <p:cNvSpPr>
            <a:spLocks noChangeAspect="1"/>
          </p:cNvSpPr>
          <p:nvPr/>
        </p:nvSpPr>
        <p:spPr>
          <a:xfrm>
            <a:off x="6986360" y="1738420"/>
            <a:ext cx="523796" cy="45155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9127877-0806-4439-AB87-1AE49015BCF9}"/>
              </a:ext>
            </a:extLst>
          </p:cNvPr>
          <p:cNvSpPr txBox="1"/>
          <p:nvPr/>
        </p:nvSpPr>
        <p:spPr>
          <a:xfrm>
            <a:off x="6970717" y="1879975"/>
            <a:ext cx="572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illing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F0ACF4F-EC3E-4BD6-B2F6-D216B6CD71F0}"/>
              </a:ext>
            </a:extLst>
          </p:cNvPr>
          <p:cNvSpPr/>
          <p:nvPr/>
        </p:nvSpPr>
        <p:spPr>
          <a:xfrm>
            <a:off x="7786948" y="3922449"/>
            <a:ext cx="804180" cy="1144995"/>
          </a:xfrm>
          <a:prstGeom prst="rect">
            <a:avLst/>
          </a:prstGeom>
          <a:solidFill>
            <a:srgbClr val="00285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fy</a:t>
            </a:r>
          </a:p>
        </p:txBody>
      </p:sp>
      <p:sp>
        <p:nvSpPr>
          <p:cNvPr id="69" name="Hexagon 68">
            <a:extLst>
              <a:ext uri="{FF2B5EF4-FFF2-40B4-BE49-F238E27FC236}">
                <a16:creationId xmlns:a16="http://schemas.microsoft.com/office/drawing/2014/main" id="{FF01DB0D-105F-4A44-8D15-3F1DD476494C}"/>
              </a:ext>
            </a:extLst>
          </p:cNvPr>
          <p:cNvSpPr>
            <a:spLocks noChangeAspect="1"/>
          </p:cNvSpPr>
          <p:nvPr/>
        </p:nvSpPr>
        <p:spPr>
          <a:xfrm>
            <a:off x="7920589" y="4316030"/>
            <a:ext cx="523796" cy="451550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12FA262-0C95-4AAE-BC4A-FC47EB3C64C0}"/>
              </a:ext>
            </a:extLst>
          </p:cNvPr>
          <p:cNvSpPr txBox="1"/>
          <p:nvPr/>
        </p:nvSpPr>
        <p:spPr>
          <a:xfrm>
            <a:off x="7890678" y="4405999"/>
            <a:ext cx="596719" cy="270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tercompany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R</a:t>
            </a: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D1BCEA0A-845F-4269-84B7-EDA29DD39376}"/>
              </a:ext>
            </a:extLst>
          </p:cNvPr>
          <p:cNvCxnSpPr>
            <a:cxnSpLocks/>
            <a:stCxn id="63" idx="0"/>
            <a:endCxn id="69" idx="3"/>
          </p:cNvCxnSpPr>
          <p:nvPr/>
        </p:nvCxnSpPr>
        <p:spPr>
          <a:xfrm flipV="1">
            <a:off x="6641893" y="4541805"/>
            <a:ext cx="1278696" cy="6831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headEnd type="non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CAF6A492-1CC3-4B79-AA9B-2BF9C497F96D}"/>
              </a:ext>
            </a:extLst>
          </p:cNvPr>
          <p:cNvCxnSpPr>
            <a:cxnSpLocks/>
          </p:cNvCxnSpPr>
          <p:nvPr/>
        </p:nvCxnSpPr>
        <p:spPr>
          <a:xfrm>
            <a:off x="7333087" y="2708302"/>
            <a:ext cx="703272" cy="1578462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2">
            <a:extLst>
              <a:ext uri="{FF2B5EF4-FFF2-40B4-BE49-F238E27FC236}">
                <a16:creationId xmlns:a16="http://schemas.microsoft.com/office/drawing/2014/main" id="{ACEA7B2E-BD9D-4169-B160-F10AECD946AE}"/>
              </a:ext>
            </a:extLst>
          </p:cNvPr>
          <p:cNvSpPr/>
          <p:nvPr/>
        </p:nvSpPr>
        <p:spPr>
          <a:xfrm>
            <a:off x="7919963" y="1715983"/>
            <a:ext cx="512926" cy="51292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829D839-FBAF-4EC1-B3BA-71C318274D96}"/>
              </a:ext>
            </a:extLst>
          </p:cNvPr>
          <p:cNvSpPr txBox="1"/>
          <p:nvPr/>
        </p:nvSpPr>
        <p:spPr>
          <a:xfrm>
            <a:off x="7935014" y="1842725"/>
            <a:ext cx="48282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ustomer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voiced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47477254-BCD4-407D-88FA-BE9E38158659}"/>
              </a:ext>
            </a:extLst>
          </p:cNvPr>
          <p:cNvCxnSpPr>
            <a:cxnSpLocks/>
            <a:stCxn id="67" idx="3"/>
            <a:endCxn id="73" idx="2"/>
          </p:cNvCxnSpPr>
          <p:nvPr/>
        </p:nvCxnSpPr>
        <p:spPr>
          <a:xfrm>
            <a:off x="7543309" y="1964614"/>
            <a:ext cx="376654" cy="7829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Hexagon 79">
            <a:extLst>
              <a:ext uri="{FF2B5EF4-FFF2-40B4-BE49-F238E27FC236}">
                <a16:creationId xmlns:a16="http://schemas.microsoft.com/office/drawing/2014/main" id="{FA6F7F22-993D-456A-9BC3-D29592935B4A}"/>
              </a:ext>
            </a:extLst>
          </p:cNvPr>
          <p:cNvSpPr>
            <a:spLocks noChangeAspect="1"/>
          </p:cNvSpPr>
          <p:nvPr/>
        </p:nvSpPr>
        <p:spPr>
          <a:xfrm>
            <a:off x="7245915" y="83366"/>
            <a:ext cx="180927" cy="155972"/>
          </a:xfrm>
          <a:prstGeom prst="hexagon">
            <a:avLst/>
          </a:prstGeom>
          <a:solidFill>
            <a:srgbClr val="F0A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Hexagon 80">
            <a:extLst>
              <a:ext uri="{FF2B5EF4-FFF2-40B4-BE49-F238E27FC236}">
                <a16:creationId xmlns:a16="http://schemas.microsoft.com/office/drawing/2014/main" id="{1D1EFEB4-562C-4841-9617-4558F1621BF0}"/>
              </a:ext>
            </a:extLst>
          </p:cNvPr>
          <p:cNvSpPr>
            <a:spLocks noChangeAspect="1"/>
          </p:cNvSpPr>
          <p:nvPr/>
        </p:nvSpPr>
        <p:spPr>
          <a:xfrm>
            <a:off x="7245915" y="271956"/>
            <a:ext cx="180927" cy="155972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487F94C-9D46-4BA6-B2D2-93C2D0036D48}"/>
              </a:ext>
            </a:extLst>
          </p:cNvPr>
          <p:cNvSpPr txBox="1"/>
          <p:nvPr/>
        </p:nvSpPr>
        <p:spPr>
          <a:xfrm>
            <a:off x="7395604" y="69019"/>
            <a:ext cx="71846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ew capability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E7F202D-B3AB-4FF9-AC0B-0C715516694F}"/>
              </a:ext>
            </a:extLst>
          </p:cNvPr>
          <p:cNvSpPr txBox="1"/>
          <p:nvPr/>
        </p:nvSpPr>
        <p:spPr>
          <a:xfrm>
            <a:off x="7395604" y="218430"/>
            <a:ext cx="9291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gnificant impact to existing capability</a:t>
            </a:r>
          </a:p>
        </p:txBody>
      </p:sp>
      <p:pic>
        <p:nvPicPr>
          <p:cNvPr id="84" name="Graphic 83">
            <a:extLst>
              <a:ext uri="{FF2B5EF4-FFF2-40B4-BE49-F238E27FC236}">
                <a16:creationId xmlns:a16="http://schemas.microsoft.com/office/drawing/2014/main" id="{2D94173A-B505-4F68-A9CF-AF9369F4724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95241" y="4633151"/>
            <a:ext cx="114300" cy="100013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73AA41A7-9C2D-4DB7-A8B5-AC04467F3C51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22376" y="4652903"/>
            <a:ext cx="114300" cy="100013"/>
          </a:xfrm>
          <a:prstGeom prst="rect">
            <a:avLst/>
          </a:prstGeom>
        </p:spPr>
      </p:pic>
      <p:pic>
        <p:nvPicPr>
          <p:cNvPr id="86" name="Graphic 85">
            <a:extLst>
              <a:ext uri="{FF2B5EF4-FFF2-40B4-BE49-F238E27FC236}">
                <a16:creationId xmlns:a16="http://schemas.microsoft.com/office/drawing/2014/main" id="{DB610CCB-FB31-44CC-83F7-226800F7334C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16365" y="4164038"/>
            <a:ext cx="114300" cy="100013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7F28B187-84C2-48CE-BFAD-DB59107A288F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92005" y="4164881"/>
            <a:ext cx="114300" cy="100013"/>
          </a:xfrm>
          <a:prstGeom prst="rect">
            <a:avLst/>
          </a:prstGeom>
        </p:spPr>
      </p:pic>
      <p:pic>
        <p:nvPicPr>
          <p:cNvPr id="88" name="Graphic 87">
            <a:extLst>
              <a:ext uri="{FF2B5EF4-FFF2-40B4-BE49-F238E27FC236}">
                <a16:creationId xmlns:a16="http://schemas.microsoft.com/office/drawing/2014/main" id="{8D8BEA25-D911-431C-898E-A0C5F189DAB1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58027" y="2547644"/>
            <a:ext cx="114300" cy="100013"/>
          </a:xfrm>
          <a:prstGeom prst="rect">
            <a:avLst/>
          </a:prstGeom>
        </p:spPr>
      </p:pic>
      <p:pic>
        <p:nvPicPr>
          <p:cNvPr id="90" name="Graphic 89">
            <a:extLst>
              <a:ext uri="{FF2B5EF4-FFF2-40B4-BE49-F238E27FC236}">
                <a16:creationId xmlns:a16="http://schemas.microsoft.com/office/drawing/2014/main" id="{92FB7431-AAE7-4D47-AFF5-729781D90640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68063" y="2065446"/>
            <a:ext cx="114300" cy="100013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D3D6BDBB-F334-45DF-9A5F-584CC6DEF0B1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7196" y="1832787"/>
            <a:ext cx="114300" cy="100013"/>
          </a:xfrm>
          <a:prstGeom prst="rect">
            <a:avLst/>
          </a:prstGeom>
        </p:spPr>
      </p:pic>
      <p:grpSp>
        <p:nvGrpSpPr>
          <p:cNvPr id="196" name="Group 195">
            <a:extLst>
              <a:ext uri="{FF2B5EF4-FFF2-40B4-BE49-F238E27FC236}">
                <a16:creationId xmlns:a16="http://schemas.microsoft.com/office/drawing/2014/main" id="{30D9103E-E060-44B3-ABB5-2C32E3116B0C}"/>
              </a:ext>
            </a:extLst>
          </p:cNvPr>
          <p:cNvGrpSpPr/>
          <p:nvPr/>
        </p:nvGrpSpPr>
        <p:grpSpPr>
          <a:xfrm>
            <a:off x="6077232" y="1735380"/>
            <a:ext cx="572593" cy="451550"/>
            <a:chOff x="6208578" y="1741055"/>
            <a:chExt cx="572593" cy="451550"/>
          </a:xfrm>
        </p:grpSpPr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5E5FB41F-39C0-483C-ABF3-2EB6566942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34318" y="1741055"/>
              <a:ext cx="523796" cy="451550"/>
            </a:xfrm>
            <a:prstGeom prst="hexagon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8B1AEDB-3D81-4C7C-8473-9B647281C115}"/>
                </a:ext>
              </a:extLst>
            </p:cNvPr>
            <p:cNvSpPr txBox="1"/>
            <p:nvPr/>
          </p:nvSpPr>
          <p:spPr>
            <a:xfrm>
              <a:off x="6208578" y="1839831"/>
              <a:ext cx="57259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Orde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Management</a:t>
              </a: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3EEE3BA4-5F7B-46C1-9A4E-0536DA78AD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100000"/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522296" y="2075426"/>
              <a:ext cx="114300" cy="100013"/>
            </a:xfrm>
            <a:prstGeom prst="rect">
              <a:avLst/>
            </a:prstGeom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F1EE08D-C59B-474F-A0F5-01C16E0E87CD}"/>
              </a:ext>
            </a:extLst>
          </p:cNvPr>
          <p:cNvGrpSpPr/>
          <p:nvPr/>
        </p:nvGrpSpPr>
        <p:grpSpPr>
          <a:xfrm>
            <a:off x="6416365" y="921751"/>
            <a:ext cx="311948" cy="311944"/>
            <a:chOff x="6860931" y="1226393"/>
            <a:chExt cx="311948" cy="311944"/>
          </a:xfrm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C735B6EA-6875-43E9-915B-64578095B1D1}"/>
                </a:ext>
              </a:extLst>
            </p:cNvPr>
            <p:cNvSpPr/>
            <p:nvPr/>
          </p:nvSpPr>
          <p:spPr>
            <a:xfrm>
              <a:off x="6860931" y="1226393"/>
              <a:ext cx="311948" cy="311944"/>
            </a:xfrm>
            <a:prstGeom prst="ellipse">
              <a:avLst/>
            </a:prstGeom>
            <a:solidFill>
              <a:srgbClr val="053B7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5EB552C6-8853-4FA2-BEC5-A2F191DACF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1063" y="1266524"/>
              <a:ext cx="231685" cy="2316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96" name="Graphic 95">
              <a:extLst>
                <a:ext uri="{FF2B5EF4-FFF2-40B4-BE49-F238E27FC236}">
                  <a16:creationId xmlns:a16="http://schemas.microsoft.com/office/drawing/2014/main" id="{AD89E831-208B-4FAB-9A62-75D1CD7A61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971296" y="1321553"/>
              <a:ext cx="91219" cy="121624"/>
            </a:xfrm>
            <a:prstGeom prst="rect">
              <a:avLst/>
            </a:prstGeom>
          </p:spPr>
        </p:pic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CC169A4-38D4-4938-859E-EDDF82CF8623}"/>
              </a:ext>
            </a:extLst>
          </p:cNvPr>
          <p:cNvGrpSpPr/>
          <p:nvPr/>
        </p:nvGrpSpPr>
        <p:grpSpPr>
          <a:xfrm>
            <a:off x="5805115" y="4145067"/>
            <a:ext cx="311948" cy="311944"/>
            <a:chOff x="5937666" y="3750919"/>
            <a:chExt cx="311948" cy="311944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A2C302E3-7414-474E-BFBB-419716C0A101}"/>
                </a:ext>
              </a:extLst>
            </p:cNvPr>
            <p:cNvSpPr/>
            <p:nvPr/>
          </p:nvSpPr>
          <p:spPr>
            <a:xfrm>
              <a:off x="5937666" y="3750919"/>
              <a:ext cx="311948" cy="311944"/>
            </a:xfrm>
            <a:prstGeom prst="ellipse">
              <a:avLst/>
            </a:prstGeom>
            <a:solidFill>
              <a:srgbClr val="053B7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F4A1761F-7CFC-4CCF-9E59-C6B60D1972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77798" y="3791050"/>
              <a:ext cx="231685" cy="2316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D1AC6F0B-D32F-4260-BFDC-B1595E02B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048031" y="3846079"/>
              <a:ext cx="91219" cy="121624"/>
            </a:xfrm>
            <a:prstGeom prst="rect">
              <a:avLst/>
            </a:prstGeom>
          </p:spPr>
        </p:pic>
      </p:grpSp>
      <p:pic>
        <p:nvPicPr>
          <p:cNvPr id="101" name="Picture 100">
            <a:extLst>
              <a:ext uri="{FF2B5EF4-FFF2-40B4-BE49-F238E27FC236}">
                <a16:creationId xmlns:a16="http://schemas.microsoft.com/office/drawing/2014/main" id="{833EB50C-09CC-4EA4-A242-FF5FF1A2DC3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56937" y="3197152"/>
            <a:ext cx="480500" cy="95824"/>
          </a:xfrm>
          <a:prstGeom prst="rect">
            <a:avLst/>
          </a:prstGeom>
        </p:spPr>
      </p:pic>
      <p:sp>
        <p:nvSpPr>
          <p:cNvPr id="102" name="Hexagon 101">
            <a:extLst>
              <a:ext uri="{FF2B5EF4-FFF2-40B4-BE49-F238E27FC236}">
                <a16:creationId xmlns:a16="http://schemas.microsoft.com/office/drawing/2014/main" id="{4738E6CD-2A3D-46CA-A725-2721667872C9}"/>
              </a:ext>
            </a:extLst>
          </p:cNvPr>
          <p:cNvSpPr>
            <a:spLocks noChangeAspect="1"/>
          </p:cNvSpPr>
          <p:nvPr/>
        </p:nvSpPr>
        <p:spPr>
          <a:xfrm>
            <a:off x="7245915" y="466001"/>
            <a:ext cx="180927" cy="155972"/>
          </a:xfrm>
          <a:prstGeom prst="hexagon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1F5E462-8EC9-4F77-A40F-9C22953275FE}"/>
              </a:ext>
            </a:extLst>
          </p:cNvPr>
          <p:cNvSpPr txBox="1"/>
          <p:nvPr/>
        </p:nvSpPr>
        <p:spPr>
          <a:xfrm>
            <a:off x="7395604" y="451654"/>
            <a:ext cx="85792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xisting capability</a:t>
            </a:r>
          </a:p>
        </p:txBody>
      </p:sp>
      <p:sp>
        <p:nvSpPr>
          <p:cNvPr id="104" name="Hexagon 103">
            <a:extLst>
              <a:ext uri="{FF2B5EF4-FFF2-40B4-BE49-F238E27FC236}">
                <a16:creationId xmlns:a16="http://schemas.microsoft.com/office/drawing/2014/main" id="{122D7E24-47CA-4F52-8E60-3D472FF00420}"/>
              </a:ext>
            </a:extLst>
          </p:cNvPr>
          <p:cNvSpPr>
            <a:spLocks noChangeAspect="1"/>
          </p:cNvSpPr>
          <p:nvPr/>
        </p:nvSpPr>
        <p:spPr>
          <a:xfrm>
            <a:off x="6100425" y="1255323"/>
            <a:ext cx="523796" cy="45155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B41CED9C-19F6-4AD0-95B8-37BA935BE7B4}"/>
              </a:ext>
            </a:extLst>
          </p:cNvPr>
          <p:cNvSpPr txBox="1"/>
          <p:nvPr/>
        </p:nvSpPr>
        <p:spPr>
          <a:xfrm>
            <a:off x="6074685" y="1354099"/>
            <a:ext cx="5725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redi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anagement</a:t>
            </a:r>
          </a:p>
        </p:txBody>
      </p:sp>
      <p:pic>
        <p:nvPicPr>
          <p:cNvPr id="106" name="Graphic 105">
            <a:extLst>
              <a:ext uri="{FF2B5EF4-FFF2-40B4-BE49-F238E27FC236}">
                <a16:creationId xmlns:a16="http://schemas.microsoft.com/office/drawing/2014/main" id="{2BFB4AE2-6074-4D1F-9239-22BC36C88D65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88403" y="1589694"/>
            <a:ext cx="114300" cy="100013"/>
          </a:xfrm>
          <a:prstGeom prst="rect">
            <a:avLst/>
          </a:prstGeom>
        </p:spPr>
      </p:pic>
      <p:sp>
        <p:nvSpPr>
          <p:cNvPr id="114" name="Rectangle 113">
            <a:extLst>
              <a:ext uri="{FF2B5EF4-FFF2-40B4-BE49-F238E27FC236}">
                <a16:creationId xmlns:a16="http://schemas.microsoft.com/office/drawing/2014/main" id="{7990A556-CC91-4E4E-B0A1-B7325B11CB6D}"/>
              </a:ext>
            </a:extLst>
          </p:cNvPr>
          <p:cNvSpPr/>
          <p:nvPr/>
        </p:nvSpPr>
        <p:spPr>
          <a:xfrm>
            <a:off x="3478561" y="3919060"/>
            <a:ext cx="1266975" cy="71588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7A6B52D-BAF9-420D-9C93-4AE013CB56F6}"/>
              </a:ext>
            </a:extLst>
          </p:cNvPr>
          <p:cNvSpPr txBox="1"/>
          <p:nvPr/>
        </p:nvSpPr>
        <p:spPr>
          <a:xfrm>
            <a:off x="3916277" y="4426602"/>
            <a:ext cx="4219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TO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EB87CC64-A27B-4B70-8B7A-686E3271861A}"/>
              </a:ext>
            </a:extLst>
          </p:cNvPr>
          <p:cNvCxnSpPr>
            <a:cxnSpLocks/>
          </p:cNvCxnSpPr>
          <p:nvPr/>
        </p:nvCxnSpPr>
        <p:spPr>
          <a:xfrm>
            <a:off x="4127102" y="3570142"/>
            <a:ext cx="0" cy="348918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Hexagon 116">
            <a:extLst>
              <a:ext uri="{FF2B5EF4-FFF2-40B4-BE49-F238E27FC236}">
                <a16:creationId xmlns:a16="http://schemas.microsoft.com/office/drawing/2014/main" id="{69377560-9904-4AEF-A903-D4F106450B1C}"/>
              </a:ext>
            </a:extLst>
          </p:cNvPr>
          <p:cNvSpPr>
            <a:spLocks noChangeAspect="1"/>
          </p:cNvSpPr>
          <p:nvPr/>
        </p:nvSpPr>
        <p:spPr>
          <a:xfrm>
            <a:off x="3865207" y="3990142"/>
            <a:ext cx="523796" cy="451550"/>
          </a:xfrm>
          <a:prstGeom prst="hexagon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31F5271C-ABE7-4209-A792-3A4AB31B460A}"/>
              </a:ext>
            </a:extLst>
          </p:cNvPr>
          <p:cNvSpPr txBox="1"/>
          <p:nvPr/>
        </p:nvSpPr>
        <p:spPr>
          <a:xfrm>
            <a:off x="3877612" y="4011093"/>
            <a:ext cx="48442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nfigure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ce 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Quote</a:t>
            </a:r>
          </a:p>
        </p:txBody>
      </p:sp>
      <p:pic>
        <p:nvPicPr>
          <p:cNvPr id="119" name="Graphic 118">
            <a:extLst>
              <a:ext uri="{FF2B5EF4-FFF2-40B4-BE49-F238E27FC236}">
                <a16:creationId xmlns:a16="http://schemas.microsoft.com/office/drawing/2014/main" id="{845D4AC0-7D3D-46EE-9CE2-07345860FE8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0800000" flipV="1">
            <a:off x="4149279" y="4334356"/>
            <a:ext cx="116554" cy="87416"/>
          </a:xfrm>
          <a:prstGeom prst="rect">
            <a:avLst/>
          </a:prstGeom>
        </p:spPr>
      </p:pic>
      <p:pic>
        <p:nvPicPr>
          <p:cNvPr id="120" name="Picture 8" descr="Oracle CPQ Reviews 2021: Details, Pricing, &amp; Features | G2">
            <a:extLst>
              <a:ext uri="{FF2B5EF4-FFF2-40B4-BE49-F238E27FC236}">
                <a16:creationId xmlns:a16="http://schemas.microsoft.com/office/drawing/2014/main" id="{01B3ABEC-11F9-4FE1-92D6-D11891B3BC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08" t="13796" r="8868" b="13336"/>
          <a:stretch/>
        </p:blipFill>
        <p:spPr bwMode="auto">
          <a:xfrm>
            <a:off x="3546295" y="4448392"/>
            <a:ext cx="312936" cy="147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BF674D0-CF91-441F-B2C6-0EEA3909A794}"/>
              </a:ext>
            </a:extLst>
          </p:cNvPr>
          <p:cNvGrpSpPr/>
          <p:nvPr/>
        </p:nvGrpSpPr>
        <p:grpSpPr>
          <a:xfrm>
            <a:off x="6888837" y="911728"/>
            <a:ext cx="311948" cy="311944"/>
            <a:chOff x="8258010" y="943327"/>
            <a:chExt cx="311948" cy="311944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6A187862-3F9D-4160-9179-9D4640008866}"/>
                </a:ext>
              </a:extLst>
            </p:cNvPr>
            <p:cNvSpPr/>
            <p:nvPr/>
          </p:nvSpPr>
          <p:spPr>
            <a:xfrm>
              <a:off x="8258010" y="943327"/>
              <a:ext cx="311948" cy="311944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D80A55BE-48BE-4CDC-802C-7CC2CAD35E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98142" y="983458"/>
              <a:ext cx="231685" cy="2316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24" name="Graphic 123">
              <a:extLst>
                <a:ext uri="{FF2B5EF4-FFF2-40B4-BE49-F238E27FC236}">
                  <a16:creationId xmlns:a16="http://schemas.microsoft.com/office/drawing/2014/main" id="{1D7A7C66-D180-42CC-ADC1-D29973F9BF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368375" y="1038487"/>
              <a:ext cx="91219" cy="121624"/>
            </a:xfrm>
            <a:prstGeom prst="rect">
              <a:avLst/>
            </a:prstGeom>
          </p:spPr>
        </p:pic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2A47DD94-AFB7-4C4F-AB0D-33138EB94752}"/>
              </a:ext>
            </a:extLst>
          </p:cNvPr>
          <p:cNvGrpSpPr/>
          <p:nvPr/>
        </p:nvGrpSpPr>
        <p:grpSpPr>
          <a:xfrm>
            <a:off x="8447325" y="3766293"/>
            <a:ext cx="311948" cy="311944"/>
            <a:chOff x="8258010" y="943327"/>
            <a:chExt cx="311948" cy="311944"/>
          </a:xfrm>
        </p:grpSpPr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F0931C56-5A3C-4771-82F9-1AEBB96C14DB}"/>
                </a:ext>
              </a:extLst>
            </p:cNvPr>
            <p:cNvSpPr/>
            <p:nvPr/>
          </p:nvSpPr>
          <p:spPr>
            <a:xfrm>
              <a:off x="8258010" y="943327"/>
              <a:ext cx="311948" cy="311944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8A3D8AAA-5449-47B2-8C01-D7629C1337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98142" y="983458"/>
              <a:ext cx="231685" cy="2316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11FE08ED-BB9D-4288-BE88-D5F3577DB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368375" y="1038487"/>
              <a:ext cx="91219" cy="121624"/>
            </a:xfrm>
            <a:prstGeom prst="rect">
              <a:avLst/>
            </a:prstGeom>
          </p:spPr>
        </p:pic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13BA5A5C-E8A0-4A7D-976F-4D91F7F072ED}"/>
              </a:ext>
            </a:extLst>
          </p:cNvPr>
          <p:cNvSpPr txBox="1"/>
          <p:nvPr/>
        </p:nvSpPr>
        <p:spPr>
          <a:xfrm>
            <a:off x="8523949" y="82331"/>
            <a:ext cx="34817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SR</a:t>
            </a: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3DEF64CD-2342-41F4-B0BB-D512A0EA356E}"/>
              </a:ext>
            </a:extLst>
          </p:cNvPr>
          <p:cNvGrpSpPr>
            <a:grpSpLocks noChangeAspect="1"/>
          </p:cNvGrpSpPr>
          <p:nvPr/>
        </p:nvGrpSpPr>
        <p:grpSpPr>
          <a:xfrm>
            <a:off x="8386736" y="466547"/>
            <a:ext cx="173906" cy="173904"/>
            <a:chOff x="8258010" y="943327"/>
            <a:chExt cx="311948" cy="311944"/>
          </a:xfrm>
        </p:grpSpPr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6ABE198D-1436-43C0-A83C-A26051234F4B}"/>
                </a:ext>
              </a:extLst>
            </p:cNvPr>
            <p:cNvSpPr/>
            <p:nvPr/>
          </p:nvSpPr>
          <p:spPr>
            <a:xfrm>
              <a:off x="8258010" y="943327"/>
              <a:ext cx="311948" cy="311944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96055246-17B9-40AF-9AE8-69201164AF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98142" y="983458"/>
              <a:ext cx="231685" cy="2316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37" name="Graphic 136">
              <a:extLst>
                <a:ext uri="{FF2B5EF4-FFF2-40B4-BE49-F238E27FC236}">
                  <a16:creationId xmlns:a16="http://schemas.microsoft.com/office/drawing/2014/main" id="{53BCE69F-C756-4DE3-B5B7-B06E44327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368375" y="1038487"/>
              <a:ext cx="91219" cy="121624"/>
            </a:xfrm>
            <a:prstGeom prst="rect">
              <a:avLst/>
            </a:prstGeom>
          </p:spPr>
        </p:pic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8487383D-51BD-4D0F-B115-00A3ACA67972}"/>
              </a:ext>
            </a:extLst>
          </p:cNvPr>
          <p:cNvGrpSpPr>
            <a:grpSpLocks noChangeAspect="1"/>
          </p:cNvGrpSpPr>
          <p:nvPr/>
        </p:nvGrpSpPr>
        <p:grpSpPr>
          <a:xfrm>
            <a:off x="8386464" y="97551"/>
            <a:ext cx="174512" cy="174509"/>
            <a:chOff x="6860931" y="1226393"/>
            <a:chExt cx="311948" cy="311944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022647A8-454B-48F5-8C56-63C737F82F05}"/>
                </a:ext>
              </a:extLst>
            </p:cNvPr>
            <p:cNvSpPr/>
            <p:nvPr/>
          </p:nvSpPr>
          <p:spPr>
            <a:xfrm>
              <a:off x="6860931" y="1226393"/>
              <a:ext cx="311948" cy="311944"/>
            </a:xfrm>
            <a:prstGeom prst="ellipse">
              <a:avLst/>
            </a:prstGeom>
            <a:solidFill>
              <a:srgbClr val="053B7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C5983B95-7DDD-480F-B771-880705640C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1063" y="1266524"/>
              <a:ext cx="231685" cy="2316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41" name="Graphic 140">
              <a:extLst>
                <a:ext uri="{FF2B5EF4-FFF2-40B4-BE49-F238E27FC236}">
                  <a16:creationId xmlns:a16="http://schemas.microsoft.com/office/drawing/2014/main" id="{5E592AEE-E800-49F4-97A4-53868868D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971296" y="1321553"/>
              <a:ext cx="91219" cy="121624"/>
            </a:xfrm>
            <a:prstGeom prst="rect">
              <a:avLst/>
            </a:prstGeom>
          </p:spPr>
        </p:pic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E325568A-995B-4D0B-902F-3AEC8C197244}"/>
              </a:ext>
            </a:extLst>
          </p:cNvPr>
          <p:cNvSpPr txBox="1"/>
          <p:nvPr/>
        </p:nvSpPr>
        <p:spPr>
          <a:xfrm>
            <a:off x="8523949" y="461166"/>
            <a:ext cx="6435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inance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3BABE1F-7AC2-4807-9CC8-E7DEA989005F}"/>
              </a:ext>
            </a:extLst>
          </p:cNvPr>
          <p:cNvGrpSpPr>
            <a:grpSpLocks noChangeAspect="1"/>
          </p:cNvGrpSpPr>
          <p:nvPr/>
        </p:nvGrpSpPr>
        <p:grpSpPr>
          <a:xfrm>
            <a:off x="8391317" y="292989"/>
            <a:ext cx="163690" cy="163687"/>
            <a:chOff x="4909409" y="1218098"/>
            <a:chExt cx="311948" cy="311944"/>
          </a:xfrm>
        </p:grpSpPr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DCAD872D-D03F-4F96-97B0-CDBD0BA0AA88}"/>
                </a:ext>
              </a:extLst>
            </p:cNvPr>
            <p:cNvSpPr/>
            <p:nvPr/>
          </p:nvSpPr>
          <p:spPr>
            <a:xfrm>
              <a:off x="4909409" y="1218098"/>
              <a:ext cx="311948" cy="311944"/>
            </a:xfrm>
            <a:prstGeom prst="ellipse">
              <a:avLst/>
            </a:prstGeom>
            <a:solidFill>
              <a:srgbClr val="3B9FF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14FA2F6C-A1D9-4048-94AF-633778F10A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49541" y="1258229"/>
              <a:ext cx="231685" cy="2316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46" name="Graphic 145">
              <a:extLst>
                <a:ext uri="{FF2B5EF4-FFF2-40B4-BE49-F238E27FC236}">
                  <a16:creationId xmlns:a16="http://schemas.microsoft.com/office/drawing/2014/main" id="{5F73D42C-FCB2-4654-894E-DED8674134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019774" y="1313258"/>
              <a:ext cx="91219" cy="121624"/>
            </a:xfrm>
            <a:prstGeom prst="rect">
              <a:avLst/>
            </a:prstGeom>
          </p:spPr>
        </p:pic>
      </p:grpSp>
      <p:sp>
        <p:nvSpPr>
          <p:cNvPr id="147" name="TextBox 146">
            <a:extLst>
              <a:ext uri="{FF2B5EF4-FFF2-40B4-BE49-F238E27FC236}">
                <a16:creationId xmlns:a16="http://schemas.microsoft.com/office/drawing/2014/main" id="{7E4991F8-C8CC-4DCA-B825-477936E40D32}"/>
              </a:ext>
            </a:extLst>
          </p:cNvPr>
          <p:cNvSpPr txBox="1"/>
          <p:nvPr/>
        </p:nvSpPr>
        <p:spPr>
          <a:xfrm>
            <a:off x="8523949" y="282499"/>
            <a:ext cx="6435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ustomer</a:t>
            </a:r>
          </a:p>
        </p:txBody>
      </p:sp>
      <p:sp>
        <p:nvSpPr>
          <p:cNvPr id="149" name="Callout: Line with Accent Bar 148">
            <a:extLst>
              <a:ext uri="{FF2B5EF4-FFF2-40B4-BE49-F238E27FC236}">
                <a16:creationId xmlns:a16="http://schemas.microsoft.com/office/drawing/2014/main" id="{6603DCB8-21AE-42AB-B045-19DC79AFAED6}"/>
              </a:ext>
            </a:extLst>
          </p:cNvPr>
          <p:cNvSpPr/>
          <p:nvPr/>
        </p:nvSpPr>
        <p:spPr>
          <a:xfrm>
            <a:off x="2437010" y="855046"/>
            <a:ext cx="928167" cy="459727"/>
          </a:xfrm>
          <a:prstGeom prst="accentCallout1">
            <a:avLst>
              <a:gd name="adj1" fmla="val 53200"/>
              <a:gd name="adj2" fmla="val 94070"/>
              <a:gd name="adj3" fmla="val 71430"/>
              <a:gd name="adj4" fmla="val 112602"/>
            </a:avLst>
          </a:prstGeom>
          <a:noFill/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~54% of revenue &amp; 61% of lines through EDI</a:t>
            </a:r>
          </a:p>
        </p:txBody>
      </p:sp>
      <p:sp>
        <p:nvSpPr>
          <p:cNvPr id="151" name="Hexagon 150">
            <a:extLst>
              <a:ext uri="{FF2B5EF4-FFF2-40B4-BE49-F238E27FC236}">
                <a16:creationId xmlns:a16="http://schemas.microsoft.com/office/drawing/2014/main" id="{0BF5F61A-5D68-41F5-81D8-EB3EA6F9E9E8}"/>
              </a:ext>
            </a:extLst>
          </p:cNvPr>
          <p:cNvSpPr>
            <a:spLocks noChangeAspect="1"/>
          </p:cNvSpPr>
          <p:nvPr/>
        </p:nvSpPr>
        <p:spPr>
          <a:xfrm>
            <a:off x="4121376" y="2375320"/>
            <a:ext cx="523796" cy="451550"/>
          </a:xfrm>
          <a:prstGeom prst="hexagon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2E142415-9B44-4CCF-AA86-4BF7FA900DA2}"/>
              </a:ext>
            </a:extLst>
          </p:cNvPr>
          <p:cNvSpPr txBox="1"/>
          <p:nvPr/>
        </p:nvSpPr>
        <p:spPr>
          <a:xfrm>
            <a:off x="4068865" y="2438799"/>
            <a:ext cx="614271" cy="2704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redi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ard Payment</a:t>
            </a:r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A9519AE8-C8A8-4C6A-A929-530DD0F83CCC}"/>
              </a:ext>
            </a:extLst>
          </p:cNvPr>
          <p:cNvSpPr>
            <a:spLocks noChangeAspect="1"/>
          </p:cNvSpPr>
          <p:nvPr/>
        </p:nvSpPr>
        <p:spPr>
          <a:xfrm>
            <a:off x="6548831" y="1974317"/>
            <a:ext cx="523796" cy="451550"/>
          </a:xfrm>
          <a:prstGeom prst="hexagon">
            <a:avLst/>
          </a:prstGeom>
          <a:solidFill>
            <a:srgbClr val="3B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8288DAC-69F0-4D99-A817-7225FB9F129B}"/>
              </a:ext>
            </a:extLst>
          </p:cNvPr>
          <p:cNvSpPr txBox="1"/>
          <p:nvPr/>
        </p:nvSpPr>
        <p:spPr>
          <a:xfrm>
            <a:off x="6521846" y="2001456"/>
            <a:ext cx="57259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ourcing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trategy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anagement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81AD2BC2-1C0B-4BD7-B6A0-D69596898AD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0800000" flipV="1">
            <a:off x="6828991" y="2327196"/>
            <a:ext cx="116554" cy="87416"/>
          </a:xfrm>
          <a:prstGeom prst="rect">
            <a:avLst/>
          </a:prstGeom>
        </p:spPr>
      </p:pic>
      <p:sp>
        <p:nvSpPr>
          <p:cNvPr id="157" name="Hexagon 156">
            <a:extLst>
              <a:ext uri="{FF2B5EF4-FFF2-40B4-BE49-F238E27FC236}">
                <a16:creationId xmlns:a16="http://schemas.microsoft.com/office/drawing/2014/main" id="{9BA16400-3647-45E0-997A-9A154CA93B4E}"/>
              </a:ext>
            </a:extLst>
          </p:cNvPr>
          <p:cNvSpPr>
            <a:spLocks noChangeAspect="1"/>
          </p:cNvSpPr>
          <p:nvPr/>
        </p:nvSpPr>
        <p:spPr>
          <a:xfrm>
            <a:off x="6104898" y="2214224"/>
            <a:ext cx="523796" cy="451550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3B1476C-4A93-4388-8F09-DD36169AFC92}"/>
              </a:ext>
            </a:extLst>
          </p:cNvPr>
          <p:cNvSpPr txBox="1"/>
          <p:nvPr/>
        </p:nvSpPr>
        <p:spPr>
          <a:xfrm>
            <a:off x="6089255" y="2293483"/>
            <a:ext cx="549487" cy="270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vailability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o Promise</a:t>
            </a:r>
          </a:p>
        </p:txBody>
      </p:sp>
      <p:pic>
        <p:nvPicPr>
          <p:cNvPr id="159" name="Graphic 158">
            <a:extLst>
              <a:ext uri="{FF2B5EF4-FFF2-40B4-BE49-F238E27FC236}">
                <a16:creationId xmlns:a16="http://schemas.microsoft.com/office/drawing/2014/main" id="{3EC9D96E-7F2F-4F69-8FC0-AD6EAC525524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09177" y="2544266"/>
            <a:ext cx="114300" cy="100013"/>
          </a:xfrm>
          <a:prstGeom prst="rect">
            <a:avLst/>
          </a:prstGeom>
        </p:spPr>
      </p:pic>
      <p:sp>
        <p:nvSpPr>
          <p:cNvPr id="160" name="Hexagon 159">
            <a:extLst>
              <a:ext uri="{FF2B5EF4-FFF2-40B4-BE49-F238E27FC236}">
                <a16:creationId xmlns:a16="http://schemas.microsoft.com/office/drawing/2014/main" id="{A1B5966F-ED70-4F84-A8FD-4B9872527380}"/>
              </a:ext>
            </a:extLst>
          </p:cNvPr>
          <p:cNvSpPr>
            <a:spLocks noChangeAspect="1"/>
          </p:cNvSpPr>
          <p:nvPr/>
        </p:nvSpPr>
        <p:spPr>
          <a:xfrm>
            <a:off x="6545265" y="2462463"/>
            <a:ext cx="523796" cy="45155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2B5357BB-08AE-4AD0-85DA-D50377BC27F3}"/>
              </a:ext>
            </a:extLst>
          </p:cNvPr>
          <p:cNvSpPr txBox="1"/>
          <p:nvPr/>
        </p:nvSpPr>
        <p:spPr>
          <a:xfrm>
            <a:off x="6505100" y="2561239"/>
            <a:ext cx="601447" cy="2704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tercompany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urchasing</a:t>
            </a:r>
          </a:p>
        </p:txBody>
      </p:sp>
      <p:pic>
        <p:nvPicPr>
          <p:cNvPr id="162" name="Graphic 161">
            <a:extLst>
              <a:ext uri="{FF2B5EF4-FFF2-40B4-BE49-F238E27FC236}">
                <a16:creationId xmlns:a16="http://schemas.microsoft.com/office/drawing/2014/main" id="{370645C3-1C5C-4B3C-8B1E-5F07FDA85031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3243" y="2796834"/>
            <a:ext cx="114300" cy="100013"/>
          </a:xfrm>
          <a:prstGeom prst="rect">
            <a:avLst/>
          </a:prstGeom>
        </p:spPr>
      </p:pic>
      <p:sp>
        <p:nvSpPr>
          <p:cNvPr id="168" name="Hexagon 167">
            <a:extLst>
              <a:ext uri="{FF2B5EF4-FFF2-40B4-BE49-F238E27FC236}">
                <a16:creationId xmlns:a16="http://schemas.microsoft.com/office/drawing/2014/main" id="{260D9A65-8B2C-45B3-BFE7-4C985BC7BEFC}"/>
              </a:ext>
            </a:extLst>
          </p:cNvPr>
          <p:cNvSpPr>
            <a:spLocks noChangeAspect="1"/>
          </p:cNvSpPr>
          <p:nvPr/>
        </p:nvSpPr>
        <p:spPr>
          <a:xfrm>
            <a:off x="7915060" y="3227238"/>
            <a:ext cx="523796" cy="45155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ECE280F-5267-4C4D-9021-54166E54B365}"/>
              </a:ext>
            </a:extLst>
          </p:cNvPr>
          <p:cNvSpPr txBox="1"/>
          <p:nvPr/>
        </p:nvSpPr>
        <p:spPr>
          <a:xfrm>
            <a:off x="7899417" y="3368793"/>
            <a:ext cx="572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etting</a:t>
            </a:r>
          </a:p>
        </p:txBody>
      </p:sp>
      <p:pic>
        <p:nvPicPr>
          <p:cNvPr id="170" name="Graphic 169">
            <a:extLst>
              <a:ext uri="{FF2B5EF4-FFF2-40B4-BE49-F238E27FC236}">
                <a16:creationId xmlns:a16="http://schemas.microsoft.com/office/drawing/2014/main" id="{68DBE75D-6965-400B-B350-B9085910F551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96763" y="3554264"/>
            <a:ext cx="114300" cy="100013"/>
          </a:xfrm>
          <a:prstGeom prst="rect">
            <a:avLst/>
          </a:prstGeom>
        </p:spPr>
      </p:pic>
      <p:cxnSp>
        <p:nvCxnSpPr>
          <p:cNvPr id="171" name="Straight Arrow Connector 170">
            <a:extLst>
              <a:ext uri="{FF2B5EF4-FFF2-40B4-BE49-F238E27FC236}">
                <a16:creationId xmlns:a16="http://schemas.microsoft.com/office/drawing/2014/main" id="{FA6DB89C-3C9C-4408-AE22-87DD987B4187}"/>
              </a:ext>
            </a:extLst>
          </p:cNvPr>
          <p:cNvCxnSpPr>
            <a:cxnSpLocks/>
          </p:cNvCxnSpPr>
          <p:nvPr/>
        </p:nvCxnSpPr>
        <p:spPr>
          <a:xfrm>
            <a:off x="7474755" y="2601064"/>
            <a:ext cx="495834" cy="707345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1500D204-B86A-414E-8D65-3A66128D1FBE}"/>
              </a:ext>
            </a:extLst>
          </p:cNvPr>
          <p:cNvCxnSpPr>
            <a:cxnSpLocks/>
          </p:cNvCxnSpPr>
          <p:nvPr/>
        </p:nvCxnSpPr>
        <p:spPr>
          <a:xfrm>
            <a:off x="8184322" y="3711794"/>
            <a:ext cx="7924" cy="57497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Hexagon 177">
            <a:extLst>
              <a:ext uri="{FF2B5EF4-FFF2-40B4-BE49-F238E27FC236}">
                <a16:creationId xmlns:a16="http://schemas.microsoft.com/office/drawing/2014/main" id="{1A389B97-0A03-466A-B982-5C4214CFBD6A}"/>
              </a:ext>
            </a:extLst>
          </p:cNvPr>
          <p:cNvSpPr>
            <a:spLocks noChangeAspect="1"/>
          </p:cNvSpPr>
          <p:nvPr/>
        </p:nvSpPr>
        <p:spPr>
          <a:xfrm>
            <a:off x="6112086" y="3350511"/>
            <a:ext cx="523796" cy="451550"/>
          </a:xfrm>
          <a:prstGeom prst="hexag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4EBE0A3D-C8BA-478E-9133-D9C98F64CF3E}"/>
              </a:ext>
            </a:extLst>
          </p:cNvPr>
          <p:cNvSpPr txBox="1"/>
          <p:nvPr/>
        </p:nvSpPr>
        <p:spPr>
          <a:xfrm>
            <a:off x="6096443" y="3429770"/>
            <a:ext cx="549487" cy="270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vailability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o Promise</a:t>
            </a:r>
          </a:p>
        </p:txBody>
      </p:sp>
      <p:pic>
        <p:nvPicPr>
          <p:cNvPr id="180" name="Graphic 179">
            <a:extLst>
              <a:ext uri="{FF2B5EF4-FFF2-40B4-BE49-F238E27FC236}">
                <a16:creationId xmlns:a16="http://schemas.microsoft.com/office/drawing/2014/main" id="{5A2279F3-E0D6-4F4A-A22A-170AC2FB6639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16365" y="3680553"/>
            <a:ext cx="114300" cy="100013"/>
          </a:xfrm>
          <a:prstGeom prst="rect">
            <a:avLst/>
          </a:prstGeom>
        </p:spPr>
      </p:pic>
      <p:sp>
        <p:nvSpPr>
          <p:cNvPr id="184" name="Flowchart: Terminator 183">
            <a:extLst>
              <a:ext uri="{FF2B5EF4-FFF2-40B4-BE49-F238E27FC236}">
                <a16:creationId xmlns:a16="http://schemas.microsoft.com/office/drawing/2014/main" id="{AFB4EB1B-B0A3-45DF-92DE-DE039E19D468}"/>
              </a:ext>
            </a:extLst>
          </p:cNvPr>
          <p:cNvSpPr/>
          <p:nvPr/>
        </p:nvSpPr>
        <p:spPr>
          <a:xfrm rot="3961313">
            <a:off x="7520292" y="3443722"/>
            <a:ext cx="328048" cy="114642"/>
          </a:xfrm>
          <a:prstGeom prst="flowChartTerminator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I</a:t>
            </a:r>
          </a:p>
        </p:txBody>
      </p: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A8B62786-1170-4107-8CD8-A34A178B9401}"/>
              </a:ext>
            </a:extLst>
          </p:cNvPr>
          <p:cNvCxnSpPr>
            <a:cxnSpLocks/>
            <a:stCxn id="158" idx="1"/>
            <a:endCxn id="179" idx="1"/>
          </p:cNvCxnSpPr>
          <p:nvPr/>
        </p:nvCxnSpPr>
        <p:spPr>
          <a:xfrm rot="10800000" flipH="1" flipV="1">
            <a:off x="6089255" y="2428712"/>
            <a:ext cx="7188" cy="1136287"/>
          </a:xfrm>
          <a:prstGeom prst="bentConnector3">
            <a:avLst>
              <a:gd name="adj1" fmla="val -3180301"/>
            </a:avLst>
          </a:prstGeom>
          <a:ln w="12700">
            <a:solidFill>
              <a:srgbClr val="3B9FFF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55">
            <a:extLst>
              <a:ext uri="{FF2B5EF4-FFF2-40B4-BE49-F238E27FC236}">
                <a16:creationId xmlns:a16="http://schemas.microsoft.com/office/drawing/2014/main" id="{EC12468C-3451-4A40-A9AE-2EE878813C63}"/>
              </a:ext>
            </a:extLst>
          </p:cNvPr>
          <p:cNvCxnSpPr>
            <a:cxnSpLocks/>
            <a:stCxn id="26" idx="1"/>
            <a:endCxn id="34" idx="0"/>
          </p:cNvCxnSpPr>
          <p:nvPr/>
        </p:nvCxnSpPr>
        <p:spPr>
          <a:xfrm rot="10800000" flipV="1">
            <a:off x="2926280" y="1394707"/>
            <a:ext cx="907515" cy="942839"/>
          </a:xfrm>
          <a:prstGeom prst="bentConnector2">
            <a:avLst/>
          </a:prstGeom>
          <a:ln w="12700">
            <a:solidFill>
              <a:schemeClr val="bg1">
                <a:lumMod val="65000"/>
              </a:schemeClr>
            </a:solidFill>
            <a:headEnd type="triangle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Arrow Connector 221">
            <a:extLst>
              <a:ext uri="{FF2B5EF4-FFF2-40B4-BE49-F238E27FC236}">
                <a16:creationId xmlns:a16="http://schemas.microsoft.com/office/drawing/2014/main" id="{A3207CF4-866B-4D88-8EE4-6799D071BE2D}"/>
              </a:ext>
            </a:extLst>
          </p:cNvPr>
          <p:cNvCxnSpPr>
            <a:cxnSpLocks/>
            <a:stCxn id="8" idx="3"/>
            <a:endCxn id="265" idx="3"/>
          </p:cNvCxnSpPr>
          <p:nvPr/>
        </p:nvCxnSpPr>
        <p:spPr>
          <a:xfrm>
            <a:off x="4745537" y="2711437"/>
            <a:ext cx="330361" cy="267129"/>
          </a:xfrm>
          <a:prstGeom prst="bentConnector3">
            <a:avLst>
              <a:gd name="adj1" fmla="val 50000"/>
            </a:avLst>
          </a:prstGeom>
          <a:ln w="12700">
            <a:solidFill>
              <a:srgbClr val="3B9FFF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Flowchart: Terminator 222">
            <a:extLst>
              <a:ext uri="{FF2B5EF4-FFF2-40B4-BE49-F238E27FC236}">
                <a16:creationId xmlns:a16="http://schemas.microsoft.com/office/drawing/2014/main" id="{445832EA-B24F-4072-9DBB-CD4B60F37D5C}"/>
              </a:ext>
            </a:extLst>
          </p:cNvPr>
          <p:cNvSpPr/>
          <p:nvPr/>
        </p:nvSpPr>
        <p:spPr>
          <a:xfrm rot="5400000">
            <a:off x="4741705" y="2848731"/>
            <a:ext cx="328048" cy="114642"/>
          </a:xfrm>
          <a:prstGeom prst="flowChartTerminator">
            <a:avLst/>
          </a:prstGeom>
          <a:solidFill>
            <a:srgbClr val="3B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I</a:t>
            </a:r>
          </a:p>
        </p:txBody>
      </p: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CC232D66-F8DC-4976-9824-32EF03ADFEF3}"/>
              </a:ext>
            </a:extLst>
          </p:cNvPr>
          <p:cNvCxnSpPr>
            <a:cxnSpLocks/>
            <a:stCxn id="26" idx="3"/>
          </p:cNvCxnSpPr>
          <p:nvPr/>
        </p:nvCxnSpPr>
        <p:spPr>
          <a:xfrm>
            <a:off x="4361503" y="1394708"/>
            <a:ext cx="1796859" cy="438828"/>
          </a:xfrm>
          <a:prstGeom prst="straightConnector1">
            <a:avLst/>
          </a:prstGeom>
          <a:ln w="12700">
            <a:solidFill>
              <a:srgbClr val="A6A6A6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Flowchart: Terminator 227">
            <a:extLst>
              <a:ext uri="{FF2B5EF4-FFF2-40B4-BE49-F238E27FC236}">
                <a16:creationId xmlns:a16="http://schemas.microsoft.com/office/drawing/2014/main" id="{D6E99967-EBD7-489C-ADDC-596CB85211FC}"/>
              </a:ext>
            </a:extLst>
          </p:cNvPr>
          <p:cNvSpPr/>
          <p:nvPr/>
        </p:nvSpPr>
        <p:spPr>
          <a:xfrm rot="812507">
            <a:off x="5081646" y="1557478"/>
            <a:ext cx="328048" cy="114642"/>
          </a:xfrm>
          <a:prstGeom prst="flowChartTerminator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I</a:t>
            </a:r>
          </a:p>
        </p:txBody>
      </p:sp>
      <p:sp>
        <p:nvSpPr>
          <p:cNvPr id="232" name="Flowchart: Terminator 231">
            <a:extLst>
              <a:ext uri="{FF2B5EF4-FFF2-40B4-BE49-F238E27FC236}">
                <a16:creationId xmlns:a16="http://schemas.microsoft.com/office/drawing/2014/main" id="{79F05919-0529-4F14-83DE-F465C911DFD6}"/>
              </a:ext>
            </a:extLst>
          </p:cNvPr>
          <p:cNvSpPr/>
          <p:nvPr/>
        </p:nvSpPr>
        <p:spPr>
          <a:xfrm rot="5400000">
            <a:off x="6659141" y="4010091"/>
            <a:ext cx="328048" cy="114642"/>
          </a:xfrm>
          <a:prstGeom prst="flowChartTerminator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I</a:t>
            </a:r>
          </a:p>
        </p:txBody>
      </p:sp>
      <p:sp>
        <p:nvSpPr>
          <p:cNvPr id="233" name="Flowchart: Terminator 232">
            <a:extLst>
              <a:ext uri="{FF2B5EF4-FFF2-40B4-BE49-F238E27FC236}">
                <a16:creationId xmlns:a16="http://schemas.microsoft.com/office/drawing/2014/main" id="{F322DA54-0B1E-4C4D-A557-FE287C755F17}"/>
              </a:ext>
            </a:extLst>
          </p:cNvPr>
          <p:cNvSpPr/>
          <p:nvPr/>
        </p:nvSpPr>
        <p:spPr>
          <a:xfrm rot="19800000">
            <a:off x="6676294" y="4275735"/>
            <a:ext cx="328048" cy="114642"/>
          </a:xfrm>
          <a:prstGeom prst="flowChartTerminator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I</a:t>
            </a:r>
          </a:p>
        </p:txBody>
      </p:sp>
      <p:sp>
        <p:nvSpPr>
          <p:cNvPr id="235" name="Flowchart: Terminator 234">
            <a:extLst>
              <a:ext uri="{FF2B5EF4-FFF2-40B4-BE49-F238E27FC236}">
                <a16:creationId xmlns:a16="http://schemas.microsoft.com/office/drawing/2014/main" id="{C7E222B0-0D04-466E-865B-8AC279394827}"/>
              </a:ext>
            </a:extLst>
          </p:cNvPr>
          <p:cNvSpPr/>
          <p:nvPr/>
        </p:nvSpPr>
        <p:spPr>
          <a:xfrm>
            <a:off x="7109990" y="4489406"/>
            <a:ext cx="328048" cy="114642"/>
          </a:xfrm>
          <a:prstGeom prst="flowChartTerminator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I</a:t>
            </a:r>
          </a:p>
        </p:txBody>
      </p:sp>
      <p:sp>
        <p:nvSpPr>
          <p:cNvPr id="236" name="Flowchart: Terminator 235">
            <a:extLst>
              <a:ext uri="{FF2B5EF4-FFF2-40B4-BE49-F238E27FC236}">
                <a16:creationId xmlns:a16="http://schemas.microsoft.com/office/drawing/2014/main" id="{AF2595E0-22C1-4220-90B8-0464A954CDE0}"/>
              </a:ext>
            </a:extLst>
          </p:cNvPr>
          <p:cNvSpPr/>
          <p:nvPr/>
        </p:nvSpPr>
        <p:spPr>
          <a:xfrm rot="3468060">
            <a:off x="7511915" y="2911449"/>
            <a:ext cx="422013" cy="116009"/>
          </a:xfrm>
          <a:prstGeom prst="flowChartTerminator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LE</a:t>
            </a:r>
          </a:p>
        </p:txBody>
      </p:sp>
      <p:sp>
        <p:nvSpPr>
          <p:cNvPr id="237" name="Flowchart: Terminator 236">
            <a:extLst>
              <a:ext uri="{FF2B5EF4-FFF2-40B4-BE49-F238E27FC236}">
                <a16:creationId xmlns:a16="http://schemas.microsoft.com/office/drawing/2014/main" id="{12C8AB9D-F061-4E87-A72B-FCF3DB55A035}"/>
              </a:ext>
            </a:extLst>
          </p:cNvPr>
          <p:cNvSpPr/>
          <p:nvPr/>
        </p:nvSpPr>
        <p:spPr>
          <a:xfrm>
            <a:off x="7968968" y="3941274"/>
            <a:ext cx="422013" cy="116009"/>
          </a:xfrm>
          <a:prstGeom prst="flowChartTerminator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LE</a:t>
            </a:r>
          </a:p>
        </p:txBody>
      </p:sp>
      <p:cxnSp>
        <p:nvCxnSpPr>
          <p:cNvPr id="241" name="Straight Arrow Connector 184">
            <a:extLst>
              <a:ext uri="{FF2B5EF4-FFF2-40B4-BE49-F238E27FC236}">
                <a16:creationId xmlns:a16="http://schemas.microsoft.com/office/drawing/2014/main" id="{33F8ECD5-DFCB-4A39-828F-197F13B801BB}"/>
              </a:ext>
            </a:extLst>
          </p:cNvPr>
          <p:cNvCxnSpPr>
            <a:cxnSpLocks/>
            <a:endCxn id="56" idx="1"/>
          </p:cNvCxnSpPr>
          <p:nvPr/>
        </p:nvCxnSpPr>
        <p:spPr>
          <a:xfrm rot="5400000">
            <a:off x="5701923" y="3183411"/>
            <a:ext cx="1260656" cy="457588"/>
          </a:xfrm>
          <a:prstGeom prst="bentConnector4">
            <a:avLst>
              <a:gd name="adj1" fmla="val 135"/>
              <a:gd name="adj2" fmla="val 153056"/>
            </a:avLst>
          </a:prstGeom>
          <a:ln w="12700">
            <a:solidFill>
              <a:srgbClr val="3B9FFF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Flowchart: Terminator 185">
            <a:extLst>
              <a:ext uri="{FF2B5EF4-FFF2-40B4-BE49-F238E27FC236}">
                <a16:creationId xmlns:a16="http://schemas.microsoft.com/office/drawing/2014/main" id="{CEAA7F0B-CE3E-4658-A7C0-0B482FD39C90}"/>
              </a:ext>
            </a:extLst>
          </p:cNvPr>
          <p:cNvSpPr/>
          <p:nvPr/>
        </p:nvSpPr>
        <p:spPr>
          <a:xfrm rot="5400000">
            <a:off x="5697602" y="2922827"/>
            <a:ext cx="328048" cy="114642"/>
          </a:xfrm>
          <a:prstGeom prst="flowChartTerminator">
            <a:avLst/>
          </a:prstGeom>
          <a:solidFill>
            <a:srgbClr val="3B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I</a:t>
            </a:r>
          </a:p>
        </p:txBody>
      </p:sp>
      <p:sp>
        <p:nvSpPr>
          <p:cNvPr id="253" name="Callout: Line with Accent Bar 252">
            <a:extLst>
              <a:ext uri="{FF2B5EF4-FFF2-40B4-BE49-F238E27FC236}">
                <a16:creationId xmlns:a16="http://schemas.microsoft.com/office/drawing/2014/main" id="{7DED7075-6511-48F2-899A-6D9ACAE8446C}"/>
              </a:ext>
            </a:extLst>
          </p:cNvPr>
          <p:cNvSpPr/>
          <p:nvPr/>
        </p:nvSpPr>
        <p:spPr>
          <a:xfrm>
            <a:off x="2352341" y="3395737"/>
            <a:ext cx="1073895" cy="323165"/>
          </a:xfrm>
          <a:prstGeom prst="accentCallout1">
            <a:avLst>
              <a:gd name="adj1" fmla="val 46840"/>
              <a:gd name="adj2" fmla="val 96503"/>
              <a:gd name="adj3" fmla="val -32708"/>
              <a:gd name="adj4" fmla="val 103780"/>
            </a:avLst>
          </a:prstGeom>
          <a:noFill/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~16% of revenue &amp; ~14% of lines are entered through Order Center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0AD7E9CB-46C5-4FB5-8E1E-E3D32E3CAF92}"/>
              </a:ext>
            </a:extLst>
          </p:cNvPr>
          <p:cNvSpPr txBox="1"/>
          <p:nvPr/>
        </p:nvSpPr>
        <p:spPr>
          <a:xfrm>
            <a:off x="4949369" y="3338058"/>
            <a:ext cx="780983" cy="2328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tegration</a:t>
            </a:r>
          </a:p>
        </p:txBody>
      </p:sp>
      <p:sp>
        <p:nvSpPr>
          <p:cNvPr id="257" name="Hexagon 256">
            <a:extLst>
              <a:ext uri="{FF2B5EF4-FFF2-40B4-BE49-F238E27FC236}">
                <a16:creationId xmlns:a16="http://schemas.microsoft.com/office/drawing/2014/main" id="{182FD98D-37BE-4F04-AD6D-BA502F4EBD98}"/>
              </a:ext>
            </a:extLst>
          </p:cNvPr>
          <p:cNvSpPr>
            <a:spLocks noChangeAspect="1"/>
          </p:cNvSpPr>
          <p:nvPr/>
        </p:nvSpPr>
        <p:spPr>
          <a:xfrm>
            <a:off x="5070030" y="2110319"/>
            <a:ext cx="523796" cy="451550"/>
          </a:xfrm>
          <a:prstGeom prst="hexagon">
            <a:avLst/>
          </a:prstGeom>
          <a:solidFill>
            <a:srgbClr val="F0A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94EADC07-7984-4021-BA8E-58768D9BC0BC}"/>
              </a:ext>
            </a:extLst>
          </p:cNvPr>
          <p:cNvSpPr txBox="1"/>
          <p:nvPr/>
        </p:nvSpPr>
        <p:spPr>
          <a:xfrm>
            <a:off x="5129250" y="2239377"/>
            <a:ext cx="402674" cy="1704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iPaaS</a:t>
            </a: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60" name="Graphic 259">
            <a:extLst>
              <a:ext uri="{FF2B5EF4-FFF2-40B4-BE49-F238E27FC236}">
                <a16:creationId xmlns:a16="http://schemas.microsoft.com/office/drawing/2014/main" id="{3992B5D6-BD19-41D3-98A5-3D1F2E050D1C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11907" y="3178917"/>
            <a:ext cx="114300" cy="100013"/>
          </a:xfrm>
          <a:prstGeom prst="rect">
            <a:avLst/>
          </a:prstGeom>
        </p:spPr>
      </p:pic>
      <p:pic>
        <p:nvPicPr>
          <p:cNvPr id="261" name="Graphic 260">
            <a:extLst>
              <a:ext uri="{FF2B5EF4-FFF2-40B4-BE49-F238E27FC236}">
                <a16:creationId xmlns:a16="http://schemas.microsoft.com/office/drawing/2014/main" id="{78C0A098-9756-4179-B07B-B5B0136014B4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1814" y="2693071"/>
            <a:ext cx="114300" cy="100013"/>
          </a:xfrm>
          <a:prstGeom prst="rect">
            <a:avLst/>
          </a:prstGeom>
        </p:spPr>
      </p:pic>
      <p:pic>
        <p:nvPicPr>
          <p:cNvPr id="262" name="Graphic 261">
            <a:extLst>
              <a:ext uri="{FF2B5EF4-FFF2-40B4-BE49-F238E27FC236}">
                <a16:creationId xmlns:a16="http://schemas.microsoft.com/office/drawing/2014/main" id="{6BD7CBCB-A021-421E-BADB-CA40DAE8DADA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61183" y="2455438"/>
            <a:ext cx="114300" cy="100013"/>
          </a:xfrm>
          <a:prstGeom prst="rect">
            <a:avLst/>
          </a:prstGeom>
        </p:spPr>
      </p:pic>
      <p:pic>
        <p:nvPicPr>
          <p:cNvPr id="263" name="Graphic 262">
            <a:extLst>
              <a:ext uri="{FF2B5EF4-FFF2-40B4-BE49-F238E27FC236}">
                <a16:creationId xmlns:a16="http://schemas.microsoft.com/office/drawing/2014/main" id="{11DD18AA-057E-40DC-9556-50604DA9D750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54096" y="2942854"/>
            <a:ext cx="114300" cy="100013"/>
          </a:xfrm>
          <a:prstGeom prst="rect">
            <a:avLst/>
          </a:prstGeom>
        </p:spPr>
      </p:pic>
      <p:pic>
        <p:nvPicPr>
          <p:cNvPr id="264" name="Graphic 263">
            <a:extLst>
              <a:ext uri="{FF2B5EF4-FFF2-40B4-BE49-F238E27FC236}">
                <a16:creationId xmlns:a16="http://schemas.microsoft.com/office/drawing/2014/main" id="{37AF83B1-06C5-492B-8CD7-FAD221D8FE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0800000" flipV="1">
            <a:off x="5344622" y="2441361"/>
            <a:ext cx="116554" cy="87416"/>
          </a:xfrm>
          <a:prstGeom prst="rect">
            <a:avLst/>
          </a:prstGeom>
        </p:spPr>
      </p:pic>
      <p:sp>
        <p:nvSpPr>
          <p:cNvPr id="265" name="Hexagon 264">
            <a:extLst>
              <a:ext uri="{FF2B5EF4-FFF2-40B4-BE49-F238E27FC236}">
                <a16:creationId xmlns:a16="http://schemas.microsoft.com/office/drawing/2014/main" id="{01C7DAD9-1273-424F-A156-365DFDF65908}"/>
              </a:ext>
            </a:extLst>
          </p:cNvPr>
          <p:cNvSpPr>
            <a:spLocks noChangeAspect="1"/>
          </p:cNvSpPr>
          <p:nvPr/>
        </p:nvSpPr>
        <p:spPr>
          <a:xfrm>
            <a:off x="5075898" y="2752791"/>
            <a:ext cx="523796" cy="451550"/>
          </a:xfrm>
          <a:prstGeom prst="hexagon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919D03F3-E5DF-4B7A-BE23-8A00777D76CF}"/>
              </a:ext>
            </a:extLst>
          </p:cNvPr>
          <p:cNvSpPr txBox="1"/>
          <p:nvPr/>
        </p:nvSpPr>
        <p:spPr>
          <a:xfrm>
            <a:off x="5118760" y="2821677"/>
            <a:ext cx="423514" cy="2704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PI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outing</a:t>
            </a:r>
          </a:p>
        </p:txBody>
      </p:sp>
      <p:pic>
        <p:nvPicPr>
          <p:cNvPr id="267" name="Graphic 266">
            <a:extLst>
              <a:ext uri="{FF2B5EF4-FFF2-40B4-BE49-F238E27FC236}">
                <a16:creationId xmlns:a16="http://schemas.microsoft.com/office/drawing/2014/main" id="{D9753897-A3B1-4FC7-8094-4E6DF28B950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0800000" flipV="1">
            <a:off x="5359970" y="3097005"/>
            <a:ext cx="116554" cy="87416"/>
          </a:xfrm>
          <a:prstGeom prst="rect">
            <a:avLst/>
          </a:prstGeom>
        </p:spPr>
      </p:pic>
      <p:sp>
        <p:nvSpPr>
          <p:cNvPr id="277" name="Rectangle 276">
            <a:extLst>
              <a:ext uri="{FF2B5EF4-FFF2-40B4-BE49-F238E27FC236}">
                <a16:creationId xmlns:a16="http://schemas.microsoft.com/office/drawing/2014/main" id="{26373F44-62B9-4121-A67E-EE61C1CAE5A6}"/>
              </a:ext>
            </a:extLst>
          </p:cNvPr>
          <p:cNvSpPr/>
          <p:nvPr/>
        </p:nvSpPr>
        <p:spPr>
          <a:xfrm>
            <a:off x="4922691" y="3936549"/>
            <a:ext cx="786897" cy="71588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1564BE0C-6894-4AEE-A467-9C93EDB95065}"/>
              </a:ext>
            </a:extLst>
          </p:cNvPr>
          <p:cNvSpPr txBox="1"/>
          <p:nvPr/>
        </p:nvSpPr>
        <p:spPr>
          <a:xfrm>
            <a:off x="4894269" y="4444091"/>
            <a:ext cx="774571" cy="2328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ata Layer</a:t>
            </a:r>
          </a:p>
        </p:txBody>
      </p:sp>
      <p:cxnSp>
        <p:nvCxnSpPr>
          <p:cNvPr id="279" name="Straight Arrow Connector 278">
            <a:extLst>
              <a:ext uri="{FF2B5EF4-FFF2-40B4-BE49-F238E27FC236}">
                <a16:creationId xmlns:a16="http://schemas.microsoft.com/office/drawing/2014/main" id="{8D62667F-C758-475E-9EC0-EB3D2A734DAF}"/>
              </a:ext>
            </a:extLst>
          </p:cNvPr>
          <p:cNvCxnSpPr>
            <a:cxnSpLocks/>
            <a:stCxn id="254" idx="2"/>
            <a:endCxn id="277" idx="0"/>
          </p:cNvCxnSpPr>
          <p:nvPr/>
        </p:nvCxnSpPr>
        <p:spPr>
          <a:xfrm flipH="1">
            <a:off x="5316140" y="3560478"/>
            <a:ext cx="7548" cy="376071"/>
          </a:xfrm>
          <a:prstGeom prst="straightConnector1">
            <a:avLst/>
          </a:prstGeom>
          <a:ln w="12700">
            <a:solidFill>
              <a:srgbClr val="3B9FFF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Hexagon 279">
            <a:extLst>
              <a:ext uri="{FF2B5EF4-FFF2-40B4-BE49-F238E27FC236}">
                <a16:creationId xmlns:a16="http://schemas.microsoft.com/office/drawing/2014/main" id="{AC91085D-B803-401D-8793-803F9D600616}"/>
              </a:ext>
            </a:extLst>
          </p:cNvPr>
          <p:cNvSpPr>
            <a:spLocks noChangeAspect="1"/>
          </p:cNvSpPr>
          <p:nvPr/>
        </p:nvSpPr>
        <p:spPr>
          <a:xfrm>
            <a:off x="5049412" y="4007631"/>
            <a:ext cx="523796" cy="451550"/>
          </a:xfrm>
          <a:prstGeom prst="hexagon">
            <a:avLst/>
          </a:prstGeom>
          <a:solidFill>
            <a:srgbClr val="3B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E7C7F1C8-0895-4E6B-A90A-16E0FF5B314F}"/>
              </a:ext>
            </a:extLst>
          </p:cNvPr>
          <p:cNvSpPr txBox="1"/>
          <p:nvPr/>
        </p:nvSpPr>
        <p:spPr>
          <a:xfrm>
            <a:off x="5142831" y="4156022"/>
            <a:ext cx="336952" cy="1704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DM</a:t>
            </a:r>
          </a:p>
        </p:txBody>
      </p:sp>
      <p:pic>
        <p:nvPicPr>
          <p:cNvPr id="285" name="Graphic 284">
            <a:extLst>
              <a:ext uri="{FF2B5EF4-FFF2-40B4-BE49-F238E27FC236}">
                <a16:creationId xmlns:a16="http://schemas.microsoft.com/office/drawing/2014/main" id="{D5724848-AEAB-4F1F-9324-BCF864D4743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29629" y="4325983"/>
            <a:ext cx="114300" cy="100013"/>
          </a:xfrm>
          <a:prstGeom prst="rect">
            <a:avLst/>
          </a:prstGeom>
        </p:spPr>
      </p:pic>
      <p:sp>
        <p:nvSpPr>
          <p:cNvPr id="291" name="Flowchart: Terminator 290">
            <a:extLst>
              <a:ext uri="{FF2B5EF4-FFF2-40B4-BE49-F238E27FC236}">
                <a16:creationId xmlns:a16="http://schemas.microsoft.com/office/drawing/2014/main" id="{0E0DB363-9E40-487B-A371-97AB1FF9CA2D}"/>
              </a:ext>
            </a:extLst>
          </p:cNvPr>
          <p:cNvSpPr/>
          <p:nvPr/>
        </p:nvSpPr>
        <p:spPr>
          <a:xfrm>
            <a:off x="5150782" y="3701622"/>
            <a:ext cx="328048" cy="114642"/>
          </a:xfrm>
          <a:prstGeom prst="flowChartTerminator">
            <a:avLst/>
          </a:prstGeom>
          <a:solidFill>
            <a:srgbClr val="3B9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I</a:t>
            </a:r>
          </a:p>
        </p:txBody>
      </p:sp>
      <p:sp>
        <p:nvSpPr>
          <p:cNvPr id="292" name="Callout: Line with Accent Bar 291">
            <a:extLst>
              <a:ext uri="{FF2B5EF4-FFF2-40B4-BE49-F238E27FC236}">
                <a16:creationId xmlns:a16="http://schemas.microsoft.com/office/drawing/2014/main" id="{2D68A7FC-45FD-4F15-956E-83628D07233F}"/>
              </a:ext>
            </a:extLst>
          </p:cNvPr>
          <p:cNvSpPr/>
          <p:nvPr/>
        </p:nvSpPr>
        <p:spPr>
          <a:xfrm>
            <a:off x="3772019" y="4674155"/>
            <a:ext cx="1073895" cy="186215"/>
          </a:xfrm>
          <a:prstGeom prst="accentCallout1">
            <a:avLst>
              <a:gd name="adj1" fmla="val 46840"/>
              <a:gd name="adj2" fmla="val 96503"/>
              <a:gd name="adj3" fmla="val -49788"/>
              <a:gd name="adj4" fmla="val 107482"/>
            </a:avLst>
          </a:prstGeom>
          <a:noFill/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translation APIs </a:t>
            </a:r>
          </a:p>
        </p:txBody>
      </p:sp>
      <p:cxnSp>
        <p:nvCxnSpPr>
          <p:cNvPr id="293" name="Straight Arrow Connector 221">
            <a:extLst>
              <a:ext uri="{FF2B5EF4-FFF2-40B4-BE49-F238E27FC236}">
                <a16:creationId xmlns:a16="http://schemas.microsoft.com/office/drawing/2014/main" id="{8B9F8630-8A8F-47A9-9702-615FE51F3027}"/>
              </a:ext>
            </a:extLst>
          </p:cNvPr>
          <p:cNvCxnSpPr>
            <a:cxnSpLocks/>
          </p:cNvCxnSpPr>
          <p:nvPr/>
        </p:nvCxnSpPr>
        <p:spPr>
          <a:xfrm>
            <a:off x="5344622" y="2559378"/>
            <a:ext cx="0" cy="200612"/>
          </a:xfrm>
          <a:prstGeom prst="straightConnector1">
            <a:avLst/>
          </a:prstGeom>
          <a:ln w="12700">
            <a:solidFill>
              <a:srgbClr val="3B9FFF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Arrow Connector 221">
            <a:extLst>
              <a:ext uri="{FF2B5EF4-FFF2-40B4-BE49-F238E27FC236}">
                <a16:creationId xmlns:a16="http://schemas.microsoft.com/office/drawing/2014/main" id="{EADB2877-C340-41AF-9119-CB37320E0B28}"/>
              </a:ext>
            </a:extLst>
          </p:cNvPr>
          <p:cNvCxnSpPr>
            <a:cxnSpLocks/>
            <a:stCxn id="265" idx="0"/>
            <a:endCxn id="186" idx="2"/>
          </p:cNvCxnSpPr>
          <p:nvPr/>
        </p:nvCxnSpPr>
        <p:spPr>
          <a:xfrm>
            <a:off x="5599694" y="2978566"/>
            <a:ext cx="204611" cy="1582"/>
          </a:xfrm>
          <a:prstGeom prst="straightConnector1">
            <a:avLst/>
          </a:prstGeom>
          <a:ln w="12700">
            <a:solidFill>
              <a:srgbClr val="3B9FFF"/>
            </a:solidFill>
            <a:headEnd type="triangle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3" name="Picture 12">
            <a:extLst>
              <a:ext uri="{FF2B5EF4-FFF2-40B4-BE49-F238E27FC236}">
                <a16:creationId xmlns:a16="http://schemas.microsoft.com/office/drawing/2014/main" id="{92117D62-47A6-411C-9E6E-955AD52EE5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6993" y="3269087"/>
            <a:ext cx="226962" cy="7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5" name="Straight Arrow Connector 221">
            <a:extLst>
              <a:ext uri="{FF2B5EF4-FFF2-40B4-BE49-F238E27FC236}">
                <a16:creationId xmlns:a16="http://schemas.microsoft.com/office/drawing/2014/main" id="{BEB1A343-BD02-4C47-B56F-C82BB673CE4A}"/>
              </a:ext>
            </a:extLst>
          </p:cNvPr>
          <p:cNvCxnSpPr>
            <a:cxnSpLocks/>
            <a:stCxn id="49" idx="1"/>
            <a:endCxn id="186" idx="1"/>
          </p:cNvCxnSpPr>
          <p:nvPr/>
        </p:nvCxnSpPr>
        <p:spPr>
          <a:xfrm rot="10800000" flipV="1">
            <a:off x="5861626" y="1957266"/>
            <a:ext cx="215606" cy="858857"/>
          </a:xfrm>
          <a:prstGeom prst="bentConnector2">
            <a:avLst/>
          </a:prstGeom>
          <a:ln w="12700">
            <a:solidFill>
              <a:srgbClr val="3B9FFF"/>
            </a:solidFill>
            <a:headEnd type="triangle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40339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42B2A9-2282-CFE7-5F1A-6665F7886F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D438C-DB3B-99C4-8946-651A2EB6B2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VP Integrations</a:t>
            </a:r>
          </a:p>
        </p:txBody>
      </p:sp>
    </p:spTree>
    <p:extLst>
      <p:ext uri="{BB962C8B-B14F-4D97-AF65-F5344CB8AC3E}">
        <p14:creationId xmlns:p14="http://schemas.microsoft.com/office/powerpoint/2010/main" val="30480397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4286A-023E-4796-9A7A-3DC9CF85E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1800" dirty="0"/>
              <a:t>ESA MVP Integrations and Addons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957515EE-9BC9-4F94-8C23-01FE0F3DCDF3}"/>
              </a:ext>
            </a:extLst>
          </p:cNvPr>
          <p:cNvSpPr txBox="1">
            <a:spLocks/>
          </p:cNvSpPr>
          <p:nvPr/>
        </p:nvSpPr>
        <p:spPr>
          <a:xfrm>
            <a:off x="8257952" y="4809791"/>
            <a:ext cx="42884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87AF768E-E612-40DC-BE0E-A8B1823A068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7854574"/>
              </p:ext>
            </p:extLst>
          </p:nvPr>
        </p:nvGraphicFramePr>
        <p:xfrm>
          <a:off x="1063161" y="962122"/>
          <a:ext cx="6927900" cy="21306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0" name="Worksheet" r:id="rId4" imgW="11398139" imgH="3505069" progId="Excel.Sheet.12">
                  <p:embed/>
                </p:oleObj>
              </mc:Choice>
              <mc:Fallback>
                <p:oleObj name="Worksheet" r:id="rId4" imgW="11398139" imgH="350506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63161" y="962122"/>
                        <a:ext cx="6927900" cy="21306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8889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4286A-023E-4796-9A7A-3DC9CF85E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1800" dirty="0"/>
              <a:t>Aerospace MVP Integrations and Addons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957515EE-9BC9-4F94-8C23-01FE0F3DCDF3}"/>
              </a:ext>
            </a:extLst>
          </p:cNvPr>
          <p:cNvSpPr txBox="1">
            <a:spLocks/>
          </p:cNvSpPr>
          <p:nvPr/>
        </p:nvSpPr>
        <p:spPr>
          <a:xfrm>
            <a:off x="8257952" y="4809791"/>
            <a:ext cx="42884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60E4446-C92B-44C2-841E-B5F00ECCB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8652" y="861061"/>
            <a:ext cx="6884686" cy="3791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8051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42B2A9-2282-CFE7-5F1A-6665F7886F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D438C-DB3B-99C4-8946-651A2EB6B2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ew Capabilities</a:t>
            </a:r>
          </a:p>
        </p:txBody>
      </p:sp>
    </p:spTree>
    <p:extLst>
      <p:ext uri="{BB962C8B-B14F-4D97-AF65-F5344CB8AC3E}">
        <p14:creationId xmlns:p14="http://schemas.microsoft.com/office/powerpoint/2010/main" val="33735004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4286A-023E-4796-9A7A-3DC9CF85E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1800" dirty="0"/>
              <a:t>Planned Implementation of Key New Capab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A71762-7A9B-44BF-9402-CC561F7A9C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Advanced ATP</a:t>
            </a:r>
            <a:endParaRPr lang="en-US" dirty="0"/>
          </a:p>
          <a:p>
            <a:pPr lvl="1"/>
            <a:r>
              <a:rPr lang="en-US" dirty="0"/>
              <a:t>Supply Protection </a:t>
            </a:r>
          </a:p>
          <a:p>
            <a:pPr lvl="1"/>
            <a:r>
              <a:rPr lang="en-US" dirty="0"/>
              <a:t>Product Allocation</a:t>
            </a:r>
          </a:p>
          <a:p>
            <a:r>
              <a:rPr lang="en-US" dirty="0">
                <a:hlinkClick r:id="rId4"/>
              </a:rPr>
              <a:t>Production Planning and Detailed Scheduling</a:t>
            </a:r>
            <a:endParaRPr lang="en-US" dirty="0"/>
          </a:p>
          <a:p>
            <a:r>
              <a:rPr lang="en-US" dirty="0">
                <a:hlinkClick r:id="rId5"/>
              </a:rPr>
              <a:t>Embedded Analytics</a:t>
            </a:r>
            <a:endParaRPr lang="en-US" dirty="0"/>
          </a:p>
          <a:p>
            <a:pPr lvl="1"/>
            <a:r>
              <a:rPr lang="en-US" dirty="0">
                <a:hlinkClick r:id="rId6"/>
              </a:rPr>
              <a:t>Virtual Data Model and CDS Views</a:t>
            </a:r>
            <a:endParaRPr lang="en-US" dirty="0"/>
          </a:p>
          <a:p>
            <a:r>
              <a:rPr lang="en-US" dirty="0">
                <a:hlinkClick r:id="rId7"/>
              </a:rPr>
              <a:t>Enable Now</a:t>
            </a:r>
            <a:endParaRPr lang="en-US" dirty="0"/>
          </a:p>
          <a:p>
            <a:pPr lvl="1"/>
            <a:endParaRPr lang="en-US" dirty="0"/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957515EE-9BC9-4F94-8C23-01FE0F3DCDF3}"/>
              </a:ext>
            </a:extLst>
          </p:cNvPr>
          <p:cNvSpPr txBox="1">
            <a:spLocks/>
          </p:cNvSpPr>
          <p:nvPr/>
        </p:nvSpPr>
        <p:spPr>
          <a:xfrm>
            <a:off x="8257952" y="4809791"/>
            <a:ext cx="42884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A62CB-A42E-470E-A301-EA6420987B3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B67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0343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42B2A9-2282-CFE7-5F1A-6665F7886F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D438C-DB3B-99C4-8946-651A2EB6B2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VOLUTION – ESA Program Over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0822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F8E256F7-F06D-4198-83B2-6AFF26CC8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endParaRPr lang="en-US">
              <a:solidFill>
                <a:srgbClr val="5B6770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47EE4C5-59BF-4A5A-B565-F8502A06CFC3}"/>
              </a:ext>
            </a:extLst>
          </p:cNvPr>
          <p:cNvSpPr txBox="1">
            <a:spLocks/>
          </p:cNvSpPr>
          <p:nvPr/>
        </p:nvSpPr>
        <p:spPr>
          <a:xfrm>
            <a:off x="344773" y="31391"/>
            <a:ext cx="8229600" cy="6274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378" fontAlgn="base">
              <a:lnSpc>
                <a:spcPct val="110000"/>
              </a:lnSpc>
              <a:spcAft>
                <a:spcPct val="0"/>
              </a:spcAft>
              <a:buClr>
                <a:srgbClr val="3367CD"/>
              </a:buClr>
              <a:defRPr/>
            </a:pPr>
            <a:r>
              <a:rPr lang="en-US" sz="1800">
                <a:solidFill>
                  <a:srgbClr val="005EB8"/>
                </a:solidFill>
              </a:rPr>
              <a:t>The Evolution program was initiated to modernize ES-A’s business processes and technical landscape to meet its strategic commitment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668BD8-CA96-4A4C-90E6-C29C317087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273" y="751928"/>
            <a:ext cx="3379033" cy="186856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AEDA098-1014-4B61-BEDB-73108A6919B3}"/>
              </a:ext>
            </a:extLst>
          </p:cNvPr>
          <p:cNvSpPr/>
          <p:nvPr/>
        </p:nvSpPr>
        <p:spPr>
          <a:xfrm>
            <a:off x="457200" y="2708153"/>
            <a:ext cx="4114800" cy="2385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C7FFA7D-52EA-4205-812B-D0809C27853B}"/>
              </a:ext>
            </a:extLst>
          </p:cNvPr>
          <p:cNvGrpSpPr/>
          <p:nvPr/>
        </p:nvGrpSpPr>
        <p:grpSpPr>
          <a:xfrm>
            <a:off x="457199" y="2991679"/>
            <a:ext cx="4174761" cy="1545346"/>
            <a:chOff x="323893" y="3006195"/>
            <a:chExt cx="3503976" cy="154534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9E599D1-DAEA-4602-9A07-3E82B04A0A46}"/>
                </a:ext>
              </a:extLst>
            </p:cNvPr>
            <p:cNvSpPr/>
            <p:nvPr/>
          </p:nvSpPr>
          <p:spPr>
            <a:xfrm>
              <a:off x="1223075" y="3006195"/>
              <a:ext cx="1721075" cy="1499859"/>
            </a:xfrm>
            <a:prstGeom prst="rect">
              <a:avLst/>
            </a:prstGeom>
            <a:solidFill>
              <a:schemeClr val="bg1">
                <a:lumMod val="85000"/>
                <a:alpha val="58000"/>
              </a:schemeClr>
            </a:solidFill>
            <a:ln w="6350"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25997F6-408B-43F3-A8C2-CFB66F12BF72}"/>
                </a:ext>
              </a:extLst>
            </p:cNvPr>
            <p:cNvSpPr/>
            <p:nvPr/>
          </p:nvSpPr>
          <p:spPr>
            <a:xfrm>
              <a:off x="2102109" y="3510351"/>
              <a:ext cx="822960" cy="274320"/>
            </a:xfrm>
            <a:prstGeom prst="rect">
              <a:avLst/>
            </a:prstGeom>
            <a:solidFill>
              <a:srgbClr val="6489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18 versions</a:t>
              </a:r>
            </a:p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$4.9B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614B8A5-D0EC-444D-A8EC-C87F0B080551}"/>
                </a:ext>
              </a:extLst>
            </p:cNvPr>
            <p:cNvSpPr/>
            <p:nvPr/>
          </p:nvSpPr>
          <p:spPr>
            <a:xfrm>
              <a:off x="2969168" y="3510351"/>
              <a:ext cx="822960" cy="274320"/>
            </a:xfrm>
            <a:prstGeom prst="rect">
              <a:avLst/>
            </a:prstGeom>
            <a:solidFill>
              <a:srgbClr val="95A5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1 version</a:t>
              </a:r>
            </a:p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$2.2B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01476C-28FE-4FF8-8943-3F2EE54260BE}"/>
                </a:ext>
              </a:extLst>
            </p:cNvPr>
            <p:cNvSpPr/>
            <p:nvPr/>
          </p:nvSpPr>
          <p:spPr>
            <a:xfrm>
              <a:off x="1242138" y="3510351"/>
              <a:ext cx="822960" cy="274320"/>
            </a:xfrm>
            <a:prstGeom prst="rect">
              <a:avLst/>
            </a:prstGeom>
            <a:solidFill>
              <a:srgbClr val="007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5 versions</a:t>
              </a:r>
            </a:p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$0.1B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C2A8F0E-5A97-41D0-9DED-3B4A27BC0C42}"/>
                </a:ext>
              </a:extLst>
            </p:cNvPr>
            <p:cNvSpPr/>
            <p:nvPr/>
          </p:nvSpPr>
          <p:spPr>
            <a:xfrm>
              <a:off x="375079" y="3510351"/>
              <a:ext cx="822960" cy="274320"/>
            </a:xfrm>
            <a:prstGeom prst="rect">
              <a:avLst/>
            </a:prstGeom>
            <a:solidFill>
              <a:srgbClr val="0054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2 versions</a:t>
              </a:r>
            </a:p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$0.8B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8A1C1FC-A312-40D0-85C9-F6AE156451D3}"/>
                </a:ext>
              </a:extLst>
            </p:cNvPr>
            <p:cNvSpPr/>
            <p:nvPr/>
          </p:nvSpPr>
          <p:spPr>
            <a:xfrm>
              <a:off x="2102109" y="3821296"/>
              <a:ext cx="822960" cy="274320"/>
            </a:xfrm>
            <a:prstGeom prst="rect">
              <a:avLst/>
            </a:prstGeom>
            <a:solidFill>
              <a:srgbClr val="6489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6015 users</a:t>
              </a:r>
            </a:p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33 entities 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5447A6-D1F4-49D7-9CC2-D9B46BE8895A}"/>
                </a:ext>
              </a:extLst>
            </p:cNvPr>
            <p:cNvSpPr/>
            <p:nvPr/>
          </p:nvSpPr>
          <p:spPr>
            <a:xfrm>
              <a:off x="2969168" y="3821296"/>
              <a:ext cx="822960" cy="274320"/>
            </a:xfrm>
            <a:prstGeom prst="rect">
              <a:avLst/>
            </a:prstGeom>
            <a:solidFill>
              <a:srgbClr val="95A5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3450 users</a:t>
              </a:r>
            </a:p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43 entitie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99D060D-3D49-4EFE-BE8E-1C6C20F8FDC2}"/>
                </a:ext>
              </a:extLst>
            </p:cNvPr>
            <p:cNvSpPr/>
            <p:nvPr/>
          </p:nvSpPr>
          <p:spPr>
            <a:xfrm>
              <a:off x="1242138" y="3821296"/>
              <a:ext cx="822960" cy="274320"/>
            </a:xfrm>
            <a:prstGeom prst="rect">
              <a:avLst/>
            </a:prstGeom>
            <a:solidFill>
              <a:srgbClr val="007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210 users</a:t>
              </a:r>
            </a:p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4 location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8191D30-A207-4BE3-B497-382E545355E7}"/>
                </a:ext>
              </a:extLst>
            </p:cNvPr>
            <p:cNvSpPr/>
            <p:nvPr/>
          </p:nvSpPr>
          <p:spPr>
            <a:xfrm>
              <a:off x="375079" y="3821296"/>
              <a:ext cx="822960" cy="274320"/>
            </a:xfrm>
            <a:prstGeom prst="rect">
              <a:avLst/>
            </a:prstGeom>
            <a:solidFill>
              <a:srgbClr val="0054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1630 users</a:t>
              </a:r>
            </a:p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12 location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EF4DDED-8D27-4469-AC71-0B1CB4D99240}"/>
                </a:ext>
              </a:extLst>
            </p:cNvPr>
            <p:cNvSpPr/>
            <p:nvPr/>
          </p:nvSpPr>
          <p:spPr>
            <a:xfrm>
              <a:off x="2049653" y="3282445"/>
              <a:ext cx="874147" cy="2743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>
                <a:defRPr/>
              </a:pPr>
              <a:r>
                <a:rPr lang="en-US" sz="800" i="1">
                  <a:solidFill>
                    <a:srgbClr val="000000"/>
                  </a:solidFill>
                  <a:latin typeface="Arial" panose="020B0604020202020204"/>
                </a:rPr>
                <a:t>62% Revenu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26235CC-F236-4F2E-BC3F-C77C57E0EDC6}"/>
                </a:ext>
              </a:extLst>
            </p:cNvPr>
            <p:cNvSpPr/>
            <p:nvPr/>
          </p:nvSpPr>
          <p:spPr>
            <a:xfrm>
              <a:off x="2953722" y="3282445"/>
              <a:ext cx="874147" cy="2743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 i="1">
                  <a:solidFill>
                    <a:srgbClr val="000000"/>
                  </a:solidFill>
                  <a:latin typeface="Arial" panose="020B0604020202020204"/>
                </a:rPr>
                <a:t>27% Revenu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607B570-2630-4BCE-8424-6A1B4534A473}"/>
                </a:ext>
              </a:extLst>
            </p:cNvPr>
            <p:cNvSpPr/>
            <p:nvPr/>
          </p:nvSpPr>
          <p:spPr>
            <a:xfrm>
              <a:off x="1233781" y="3282445"/>
              <a:ext cx="822960" cy="2743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 i="1">
                  <a:solidFill>
                    <a:srgbClr val="000000"/>
                  </a:solidFill>
                  <a:latin typeface="Arial" panose="020B0604020202020204"/>
                </a:rPr>
                <a:t>1% Revenu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66AB513-28CD-4E79-BBD4-C3D882904A36}"/>
                </a:ext>
              </a:extLst>
            </p:cNvPr>
            <p:cNvSpPr/>
            <p:nvPr/>
          </p:nvSpPr>
          <p:spPr>
            <a:xfrm>
              <a:off x="323893" y="3282445"/>
              <a:ext cx="858701" cy="2743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 i="1">
                  <a:solidFill>
                    <a:srgbClr val="000000"/>
                  </a:solidFill>
                  <a:latin typeface="Arial" panose="020B0604020202020204"/>
                </a:rPr>
                <a:t>10% Revenu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50EEC2F-FDC6-434F-8B7A-ACC52250FB7E}"/>
                </a:ext>
              </a:extLst>
            </p:cNvPr>
            <p:cNvSpPr/>
            <p:nvPr/>
          </p:nvSpPr>
          <p:spPr>
            <a:xfrm>
              <a:off x="2100841" y="4127635"/>
              <a:ext cx="822960" cy="274320"/>
            </a:xfrm>
            <a:prstGeom prst="rect">
              <a:avLst/>
            </a:prstGeom>
            <a:solidFill>
              <a:srgbClr val="6489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Full Edge Application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C1506F8-B610-410A-8A4C-E2F7203B7FDB}"/>
                </a:ext>
              </a:extLst>
            </p:cNvPr>
            <p:cNvSpPr/>
            <p:nvPr/>
          </p:nvSpPr>
          <p:spPr>
            <a:xfrm>
              <a:off x="2967900" y="4127635"/>
              <a:ext cx="822960" cy="274320"/>
            </a:xfrm>
            <a:prstGeom prst="rect">
              <a:avLst/>
            </a:prstGeom>
            <a:solidFill>
              <a:srgbClr val="95A5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Full Edge Application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1F0D9BF-3673-49AD-8161-936FB40D8B5C}"/>
                </a:ext>
              </a:extLst>
            </p:cNvPr>
            <p:cNvSpPr/>
            <p:nvPr/>
          </p:nvSpPr>
          <p:spPr>
            <a:xfrm>
              <a:off x="1240870" y="4127635"/>
              <a:ext cx="822960" cy="274320"/>
            </a:xfrm>
            <a:prstGeom prst="rect">
              <a:avLst/>
            </a:prstGeom>
            <a:solidFill>
              <a:srgbClr val="007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No Edge Application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687394B-7779-4117-8271-A69249C9087D}"/>
                </a:ext>
              </a:extLst>
            </p:cNvPr>
            <p:cNvSpPr/>
            <p:nvPr/>
          </p:nvSpPr>
          <p:spPr>
            <a:xfrm>
              <a:off x="373811" y="4127635"/>
              <a:ext cx="824860" cy="274320"/>
            </a:xfrm>
            <a:prstGeom prst="rect">
              <a:avLst/>
            </a:prstGeom>
            <a:solidFill>
              <a:srgbClr val="0054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800">
                  <a:solidFill>
                    <a:srgbClr val="FFFFFF"/>
                  </a:solidFill>
                  <a:latin typeface="Arial" panose="020B0604020202020204"/>
                </a:rPr>
                <a:t>Partial Edge Application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089EDF1-336B-4BDC-B602-ECD568949676}"/>
                </a:ext>
              </a:extLst>
            </p:cNvPr>
            <p:cNvSpPr txBox="1"/>
            <p:nvPr/>
          </p:nvSpPr>
          <p:spPr>
            <a:xfrm>
              <a:off x="1253634" y="3006196"/>
              <a:ext cx="9144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900" b="1">
                  <a:solidFill>
                    <a:srgbClr val="000000"/>
                  </a:solidFill>
                  <a:latin typeface="Arial" panose="020B0604020202020204"/>
                </a:rPr>
                <a:t>All Other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FDB138A-BA99-45B0-97ED-ABA4EA706097}"/>
                </a:ext>
              </a:extLst>
            </p:cNvPr>
            <p:cNvSpPr txBox="1"/>
            <p:nvPr/>
          </p:nvSpPr>
          <p:spPr>
            <a:xfrm>
              <a:off x="2100840" y="3006196"/>
              <a:ext cx="81019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900" b="1">
                  <a:solidFill>
                    <a:srgbClr val="000000"/>
                  </a:solidFill>
                  <a:latin typeface="Arial" panose="020B0604020202020204"/>
                </a:rPr>
                <a:t>Vista / Mapic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B790C1B-2885-4018-9367-D5D2A9F81662}"/>
                </a:ext>
              </a:extLst>
            </p:cNvPr>
            <p:cNvSpPr txBox="1"/>
            <p:nvPr/>
          </p:nvSpPr>
          <p:spPr>
            <a:xfrm>
              <a:off x="2971872" y="3006196"/>
              <a:ext cx="8048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900" b="1">
                  <a:solidFill>
                    <a:srgbClr val="000000"/>
                  </a:solidFill>
                  <a:latin typeface="Arial" panose="020B0604020202020204"/>
                </a:rPr>
                <a:t>SAP ECC “Un1ty”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AE2D5C8-3B20-437E-BE45-9D8F8533F06D}"/>
                </a:ext>
              </a:extLst>
            </p:cNvPr>
            <p:cNvSpPr txBox="1"/>
            <p:nvPr/>
          </p:nvSpPr>
          <p:spPr>
            <a:xfrm>
              <a:off x="1866194" y="4351485"/>
              <a:ext cx="367573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700">
                  <a:solidFill>
                    <a:srgbClr val="000000"/>
                  </a:solidFill>
                  <a:latin typeface="Arial" panose="020B0604020202020204"/>
                </a:rPr>
                <a:t>Scope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3316DDB-15C9-4139-A0A1-30685C9CC90C}"/>
                </a:ext>
              </a:extLst>
            </p:cNvPr>
            <p:cNvSpPr txBox="1"/>
            <p:nvPr/>
          </p:nvSpPr>
          <p:spPr>
            <a:xfrm>
              <a:off x="481875" y="3006196"/>
              <a:ext cx="5715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900" b="1">
                  <a:solidFill>
                    <a:srgbClr val="000000"/>
                  </a:solidFill>
                  <a:latin typeface="Arial" panose="020B0604020202020204"/>
                </a:rPr>
                <a:t>Oracle</a:t>
              </a: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7786749E-0AD4-4FC5-8FC7-215D2C9E8EAB}"/>
              </a:ext>
            </a:extLst>
          </p:cNvPr>
          <p:cNvSpPr/>
          <p:nvPr/>
        </p:nvSpPr>
        <p:spPr>
          <a:xfrm>
            <a:off x="5242095" y="1746516"/>
            <a:ext cx="3900881" cy="1278725"/>
          </a:xfrm>
          <a:prstGeom prst="rect">
            <a:avLst/>
          </a:prstGeom>
          <a:solidFill>
            <a:schemeClr val="accent1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85DA312-A211-4675-9249-8AB19A2754C7}"/>
              </a:ext>
            </a:extLst>
          </p:cNvPr>
          <p:cNvSpPr txBox="1"/>
          <p:nvPr/>
        </p:nvSpPr>
        <p:spPr>
          <a:xfrm>
            <a:off x="5570290" y="1777411"/>
            <a:ext cx="4114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>
                <a:solidFill>
                  <a:srgbClr val="005EB8"/>
                </a:solidFill>
                <a:latin typeface="Arial" panose="020B0604020202020204"/>
              </a:rPr>
              <a:t>Project Scop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1E3E973-456E-4260-B2CA-DB137D155907}"/>
              </a:ext>
            </a:extLst>
          </p:cNvPr>
          <p:cNvSpPr txBox="1"/>
          <p:nvPr/>
        </p:nvSpPr>
        <p:spPr>
          <a:xfrm>
            <a:off x="5570290" y="2002885"/>
            <a:ext cx="4063254" cy="95410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ES-A business leadership driving transformation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Development of consistent processes across ES-A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Includes 37 locations across ES-A utilizing Vista/Mapics/Other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Represents $5.0B in trade sales or 63% of ES-A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Accounts for 64.4% of ES-Americas profits or $871M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Impacts over 7,500 internal ERP users &amp; 13,000 billable customers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Leverage best practices and lessons learned to mitigate risk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F185FB-8559-4157-92A1-87E9D58DD09E}"/>
              </a:ext>
            </a:extLst>
          </p:cNvPr>
          <p:cNvSpPr/>
          <p:nvPr/>
        </p:nvSpPr>
        <p:spPr>
          <a:xfrm>
            <a:off x="5242095" y="3068711"/>
            <a:ext cx="3900881" cy="1468312"/>
          </a:xfrm>
          <a:prstGeom prst="rect">
            <a:avLst/>
          </a:prstGeom>
          <a:solidFill>
            <a:schemeClr val="accent1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44180AA-E83A-4310-BA17-D19151DD8A74}"/>
              </a:ext>
            </a:extLst>
          </p:cNvPr>
          <p:cNvSpPr txBox="1"/>
          <p:nvPr/>
        </p:nvSpPr>
        <p:spPr>
          <a:xfrm>
            <a:off x="5570290" y="3099606"/>
            <a:ext cx="4114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>
                <a:solidFill>
                  <a:srgbClr val="005EB8"/>
                </a:solidFill>
                <a:latin typeface="Arial" panose="020B0604020202020204"/>
              </a:rPr>
              <a:t>Vision of the Futur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E018E7D-940B-4618-BEB4-594914898533}"/>
              </a:ext>
            </a:extLst>
          </p:cNvPr>
          <p:cNvSpPr txBox="1"/>
          <p:nvPr/>
        </p:nvSpPr>
        <p:spPr>
          <a:xfrm>
            <a:off x="5570290" y="3325080"/>
            <a:ext cx="4063254" cy="1200329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Integrate $3B of acquisitions faster to realize synergies 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Consistently meet customer commitments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Accept one Eaton order across businesses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Utilize industry leading processes, reducing customization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Simplify user experience driving customer satisfaction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One advanced core ERP system enabling systematic growth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Best in industry edge applications increasing productivity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Business process governance to maintain consistency</a:t>
            </a:r>
          </a:p>
          <a:p>
            <a:pPr marL="171446" indent="-171446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Enable digital transformation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5134AA2-C87D-4090-95C6-1D13DAF1B354}"/>
              </a:ext>
            </a:extLst>
          </p:cNvPr>
          <p:cNvSpPr/>
          <p:nvPr/>
        </p:nvSpPr>
        <p:spPr>
          <a:xfrm>
            <a:off x="5243120" y="819151"/>
            <a:ext cx="3900881" cy="879991"/>
          </a:xfrm>
          <a:prstGeom prst="rect">
            <a:avLst/>
          </a:prstGeom>
          <a:solidFill>
            <a:schemeClr val="accent1">
              <a:lumMod val="20000"/>
              <a:lumOff val="8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3367CD"/>
              </a:buClr>
              <a:defRPr/>
            </a:pPr>
            <a:endParaRPr lang="en-US" sz="16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0CC60D0-4241-4810-BF16-F0F585326ABA}"/>
              </a:ext>
            </a:extLst>
          </p:cNvPr>
          <p:cNvSpPr txBox="1"/>
          <p:nvPr/>
        </p:nvSpPr>
        <p:spPr>
          <a:xfrm>
            <a:off x="5570290" y="850046"/>
            <a:ext cx="4114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>
                <a:solidFill>
                  <a:srgbClr val="005EB8"/>
                </a:solidFill>
                <a:latin typeface="Arial" panose="020B0604020202020204"/>
              </a:rPr>
              <a:t>Objectiv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F3602DC-E945-4C2F-80B0-A0BF8FD2DF71}"/>
              </a:ext>
            </a:extLst>
          </p:cNvPr>
          <p:cNvSpPr txBox="1"/>
          <p:nvPr/>
        </p:nvSpPr>
        <p:spPr>
          <a:xfrm>
            <a:off x="5570290" y="1075521"/>
            <a:ext cx="3573710" cy="461665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>
                <a:solidFill>
                  <a:srgbClr val="5B6770">
                    <a:lumMod val="75000"/>
                  </a:srgbClr>
                </a:solidFill>
                <a:latin typeface="Arial" panose="020B0604020202020204"/>
              </a:rPr>
              <a:t>Develop sustainable business processes and ERP systems to enable the achievement of strategic financial goals, including a 7.1% CAGR to reach $11.2B in sales, for the Electrical Sector Americas Business by 2026.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325085C3-5E73-458B-A2FE-2E8A1B5D068A}"/>
              </a:ext>
            </a:extLst>
          </p:cNvPr>
          <p:cNvCxnSpPr>
            <a:cxnSpLocks/>
          </p:cNvCxnSpPr>
          <p:nvPr/>
        </p:nvCxnSpPr>
        <p:spPr>
          <a:xfrm>
            <a:off x="5231989" y="819151"/>
            <a:ext cx="0" cy="87999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CC74EE2-11D5-41E1-9F07-B1DCFF495A07}"/>
              </a:ext>
            </a:extLst>
          </p:cNvPr>
          <p:cNvGrpSpPr/>
          <p:nvPr/>
        </p:nvGrpSpPr>
        <p:grpSpPr>
          <a:xfrm>
            <a:off x="4950958" y="973915"/>
            <a:ext cx="562062" cy="562062"/>
            <a:chOff x="5008228" y="973915"/>
            <a:chExt cx="562062" cy="562062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C5058576-09BE-4790-98F7-3FA242E7CF47}"/>
                </a:ext>
              </a:extLst>
            </p:cNvPr>
            <p:cNvSpPr/>
            <p:nvPr/>
          </p:nvSpPr>
          <p:spPr>
            <a:xfrm>
              <a:off x="5008228" y="973915"/>
              <a:ext cx="562062" cy="562062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67CD"/>
                </a:buClr>
                <a:defRPr/>
              </a:pPr>
              <a:endParaRPr lang="en-US" sz="16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10253FBB-38C2-43FE-BC8D-3D4508C214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26277" y="1085308"/>
              <a:ext cx="325964" cy="324238"/>
            </a:xfrm>
            <a:prstGeom prst="rect">
              <a:avLst/>
            </a:prstGeom>
          </p:spPr>
        </p:pic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CA3D6E3-694B-4395-B8D7-F2E0E968708E}"/>
              </a:ext>
            </a:extLst>
          </p:cNvPr>
          <p:cNvGrpSpPr/>
          <p:nvPr/>
        </p:nvGrpSpPr>
        <p:grpSpPr>
          <a:xfrm>
            <a:off x="4950958" y="1740506"/>
            <a:ext cx="562062" cy="1284735"/>
            <a:chOff x="5022462" y="1740505"/>
            <a:chExt cx="562062" cy="1284735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C009350-B199-4122-88A1-FD208B74A6C8}"/>
                </a:ext>
              </a:extLst>
            </p:cNvPr>
            <p:cNvCxnSpPr>
              <a:cxnSpLocks/>
            </p:cNvCxnSpPr>
            <p:nvPr/>
          </p:nvCxnSpPr>
          <p:spPr>
            <a:xfrm>
              <a:off x="5303493" y="1740505"/>
              <a:ext cx="0" cy="1284735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574B7141-30CA-4D55-93B0-EFF76E91B9F4}"/>
                </a:ext>
              </a:extLst>
            </p:cNvPr>
            <p:cNvGrpSpPr/>
            <p:nvPr/>
          </p:nvGrpSpPr>
          <p:grpSpPr>
            <a:xfrm>
              <a:off x="5022462" y="2091186"/>
              <a:ext cx="562062" cy="562062"/>
              <a:chOff x="5036697" y="2091186"/>
              <a:chExt cx="562062" cy="562062"/>
            </a:xfrm>
          </p:grpSpPr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84F13997-AFD5-44B6-B740-996E510B5BFB}"/>
                  </a:ext>
                </a:extLst>
              </p:cNvPr>
              <p:cNvSpPr/>
              <p:nvPr/>
            </p:nvSpPr>
            <p:spPr>
              <a:xfrm>
                <a:off x="5036697" y="2091186"/>
                <a:ext cx="562062" cy="56206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11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3367CD"/>
                  </a:buClr>
                  <a:defRPr/>
                </a:pPr>
                <a:endParaRPr lang="en-US" sz="16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sp>
            <p:nvSpPr>
              <p:cNvPr id="108" name="Freeform 426">
                <a:extLst>
                  <a:ext uri="{FF2B5EF4-FFF2-40B4-BE49-F238E27FC236}">
                    <a16:creationId xmlns:a16="http://schemas.microsoft.com/office/drawing/2014/main" id="{FEC04719-5E5E-43CF-B1E1-39C460477C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208140" y="2231265"/>
                <a:ext cx="242910" cy="271052"/>
              </a:xfrm>
              <a:custGeom>
                <a:avLst/>
                <a:gdLst/>
                <a:ahLst/>
                <a:cxnLst>
                  <a:cxn ang="0">
                    <a:pos x="976" y="1281"/>
                  </a:cxn>
                  <a:cxn ang="0">
                    <a:pos x="0" y="1281"/>
                  </a:cxn>
                  <a:cxn ang="0">
                    <a:pos x="0" y="260"/>
                  </a:cxn>
                  <a:cxn ang="0">
                    <a:pos x="144" y="260"/>
                  </a:cxn>
                  <a:cxn ang="0">
                    <a:pos x="428" y="260"/>
                  </a:cxn>
                  <a:cxn ang="0">
                    <a:pos x="501" y="385"/>
                  </a:cxn>
                  <a:cxn ang="0">
                    <a:pos x="144" y="385"/>
                  </a:cxn>
                  <a:cxn ang="0">
                    <a:pos x="144" y="1156"/>
                  </a:cxn>
                  <a:cxn ang="0">
                    <a:pos x="832" y="1156"/>
                  </a:cxn>
                  <a:cxn ang="0">
                    <a:pos x="832" y="447"/>
                  </a:cxn>
                  <a:cxn ang="0">
                    <a:pos x="976" y="305"/>
                  </a:cxn>
                  <a:cxn ang="0">
                    <a:pos x="976" y="1281"/>
                  </a:cxn>
                  <a:cxn ang="0">
                    <a:pos x="674" y="752"/>
                  </a:cxn>
                  <a:cxn ang="0">
                    <a:pos x="409" y="752"/>
                  </a:cxn>
                  <a:cxn ang="0">
                    <a:pos x="409" y="865"/>
                  </a:cxn>
                  <a:cxn ang="0">
                    <a:pos x="674" y="865"/>
                  </a:cxn>
                  <a:cxn ang="0">
                    <a:pos x="674" y="752"/>
                  </a:cxn>
                  <a:cxn ang="0">
                    <a:pos x="331" y="556"/>
                  </a:cxn>
                  <a:cxn ang="0">
                    <a:pos x="218" y="556"/>
                  </a:cxn>
                  <a:cxn ang="0">
                    <a:pos x="218" y="669"/>
                  </a:cxn>
                  <a:cxn ang="0">
                    <a:pos x="331" y="669"/>
                  </a:cxn>
                  <a:cxn ang="0">
                    <a:pos x="331" y="556"/>
                  </a:cxn>
                  <a:cxn ang="0">
                    <a:pos x="331" y="752"/>
                  </a:cxn>
                  <a:cxn ang="0">
                    <a:pos x="218" y="752"/>
                  </a:cxn>
                  <a:cxn ang="0">
                    <a:pos x="218" y="865"/>
                  </a:cxn>
                  <a:cxn ang="0">
                    <a:pos x="331" y="865"/>
                  </a:cxn>
                  <a:cxn ang="0">
                    <a:pos x="331" y="752"/>
                  </a:cxn>
                  <a:cxn ang="0">
                    <a:pos x="674" y="556"/>
                  </a:cxn>
                  <a:cxn ang="0">
                    <a:pos x="409" y="556"/>
                  </a:cxn>
                  <a:cxn ang="0">
                    <a:pos x="409" y="669"/>
                  </a:cxn>
                  <a:cxn ang="0">
                    <a:pos x="674" y="669"/>
                  </a:cxn>
                  <a:cxn ang="0">
                    <a:pos x="674" y="556"/>
                  </a:cxn>
                  <a:cxn ang="0">
                    <a:pos x="331" y="945"/>
                  </a:cxn>
                  <a:cxn ang="0">
                    <a:pos x="218" y="945"/>
                  </a:cxn>
                  <a:cxn ang="0">
                    <a:pos x="218" y="1059"/>
                  </a:cxn>
                  <a:cxn ang="0">
                    <a:pos x="331" y="1059"/>
                  </a:cxn>
                  <a:cxn ang="0">
                    <a:pos x="331" y="945"/>
                  </a:cxn>
                  <a:cxn ang="0">
                    <a:pos x="674" y="945"/>
                  </a:cxn>
                  <a:cxn ang="0">
                    <a:pos x="409" y="945"/>
                  </a:cxn>
                  <a:cxn ang="0">
                    <a:pos x="409" y="1059"/>
                  </a:cxn>
                  <a:cxn ang="0">
                    <a:pos x="674" y="1059"/>
                  </a:cxn>
                  <a:cxn ang="0">
                    <a:pos x="674" y="945"/>
                  </a:cxn>
                  <a:cxn ang="0">
                    <a:pos x="971" y="0"/>
                  </a:cxn>
                  <a:cxn ang="0">
                    <a:pos x="692" y="281"/>
                  </a:cxn>
                  <a:cxn ang="0">
                    <a:pos x="624" y="166"/>
                  </a:cxn>
                  <a:cxn ang="0">
                    <a:pos x="477" y="166"/>
                  </a:cxn>
                  <a:cxn ang="0">
                    <a:pos x="669" y="480"/>
                  </a:cxn>
                  <a:cxn ang="0">
                    <a:pos x="1148" y="0"/>
                  </a:cxn>
                  <a:cxn ang="0">
                    <a:pos x="971" y="0"/>
                  </a:cxn>
                </a:cxnLst>
                <a:rect l="0" t="0" r="r" b="b"/>
                <a:pathLst>
                  <a:path w="1148" h="1281">
                    <a:moveTo>
                      <a:pt x="976" y="1281"/>
                    </a:moveTo>
                    <a:lnTo>
                      <a:pt x="0" y="1281"/>
                    </a:lnTo>
                    <a:lnTo>
                      <a:pt x="0" y="260"/>
                    </a:lnTo>
                    <a:lnTo>
                      <a:pt x="144" y="260"/>
                    </a:lnTo>
                    <a:lnTo>
                      <a:pt x="428" y="260"/>
                    </a:lnTo>
                    <a:lnTo>
                      <a:pt x="501" y="385"/>
                    </a:lnTo>
                    <a:lnTo>
                      <a:pt x="144" y="385"/>
                    </a:lnTo>
                    <a:lnTo>
                      <a:pt x="144" y="1156"/>
                    </a:lnTo>
                    <a:lnTo>
                      <a:pt x="832" y="1156"/>
                    </a:lnTo>
                    <a:lnTo>
                      <a:pt x="832" y="447"/>
                    </a:lnTo>
                    <a:lnTo>
                      <a:pt x="976" y="305"/>
                    </a:lnTo>
                    <a:lnTo>
                      <a:pt x="976" y="1281"/>
                    </a:lnTo>
                    <a:close/>
                    <a:moveTo>
                      <a:pt x="674" y="752"/>
                    </a:moveTo>
                    <a:lnTo>
                      <a:pt x="409" y="752"/>
                    </a:lnTo>
                    <a:lnTo>
                      <a:pt x="409" y="865"/>
                    </a:lnTo>
                    <a:lnTo>
                      <a:pt x="674" y="865"/>
                    </a:lnTo>
                    <a:lnTo>
                      <a:pt x="674" y="752"/>
                    </a:lnTo>
                    <a:close/>
                    <a:moveTo>
                      <a:pt x="331" y="556"/>
                    </a:moveTo>
                    <a:lnTo>
                      <a:pt x="218" y="556"/>
                    </a:lnTo>
                    <a:lnTo>
                      <a:pt x="218" y="669"/>
                    </a:lnTo>
                    <a:lnTo>
                      <a:pt x="331" y="669"/>
                    </a:lnTo>
                    <a:lnTo>
                      <a:pt x="331" y="556"/>
                    </a:lnTo>
                    <a:close/>
                    <a:moveTo>
                      <a:pt x="331" y="752"/>
                    </a:moveTo>
                    <a:lnTo>
                      <a:pt x="218" y="752"/>
                    </a:lnTo>
                    <a:lnTo>
                      <a:pt x="218" y="865"/>
                    </a:lnTo>
                    <a:lnTo>
                      <a:pt x="331" y="865"/>
                    </a:lnTo>
                    <a:lnTo>
                      <a:pt x="331" y="752"/>
                    </a:lnTo>
                    <a:close/>
                    <a:moveTo>
                      <a:pt x="674" y="556"/>
                    </a:moveTo>
                    <a:lnTo>
                      <a:pt x="409" y="556"/>
                    </a:lnTo>
                    <a:lnTo>
                      <a:pt x="409" y="669"/>
                    </a:lnTo>
                    <a:lnTo>
                      <a:pt x="674" y="669"/>
                    </a:lnTo>
                    <a:lnTo>
                      <a:pt x="674" y="556"/>
                    </a:lnTo>
                    <a:close/>
                    <a:moveTo>
                      <a:pt x="331" y="945"/>
                    </a:moveTo>
                    <a:lnTo>
                      <a:pt x="218" y="945"/>
                    </a:lnTo>
                    <a:lnTo>
                      <a:pt x="218" y="1059"/>
                    </a:lnTo>
                    <a:lnTo>
                      <a:pt x="331" y="1059"/>
                    </a:lnTo>
                    <a:lnTo>
                      <a:pt x="331" y="945"/>
                    </a:lnTo>
                    <a:close/>
                    <a:moveTo>
                      <a:pt x="674" y="945"/>
                    </a:moveTo>
                    <a:lnTo>
                      <a:pt x="409" y="945"/>
                    </a:lnTo>
                    <a:lnTo>
                      <a:pt x="409" y="1059"/>
                    </a:lnTo>
                    <a:lnTo>
                      <a:pt x="674" y="1059"/>
                    </a:lnTo>
                    <a:lnTo>
                      <a:pt x="674" y="945"/>
                    </a:lnTo>
                    <a:close/>
                    <a:moveTo>
                      <a:pt x="971" y="0"/>
                    </a:moveTo>
                    <a:lnTo>
                      <a:pt x="692" y="281"/>
                    </a:lnTo>
                    <a:lnTo>
                      <a:pt x="624" y="166"/>
                    </a:lnTo>
                    <a:lnTo>
                      <a:pt x="477" y="166"/>
                    </a:lnTo>
                    <a:lnTo>
                      <a:pt x="669" y="480"/>
                    </a:lnTo>
                    <a:lnTo>
                      <a:pt x="1148" y="0"/>
                    </a:lnTo>
                    <a:lnTo>
                      <a:pt x="97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lnSpc>
                    <a:spcPct val="11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3367CD"/>
                  </a:buClr>
                  <a:defRPr/>
                </a:pPr>
                <a:endParaRPr lang="en-IN" sz="160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ABF8A5B-E19A-4688-8CD1-B679F6A92590}"/>
              </a:ext>
            </a:extLst>
          </p:cNvPr>
          <p:cNvGrpSpPr/>
          <p:nvPr/>
        </p:nvGrpSpPr>
        <p:grpSpPr>
          <a:xfrm>
            <a:off x="4950958" y="3068711"/>
            <a:ext cx="562062" cy="1468312"/>
            <a:chOff x="5022462" y="3068710"/>
            <a:chExt cx="562062" cy="1468312"/>
          </a:xfrm>
        </p:grpSpPr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CA2FAF55-B283-4946-BDAC-CF90118FD6BE}"/>
                </a:ext>
              </a:extLst>
            </p:cNvPr>
            <p:cNvCxnSpPr>
              <a:cxnSpLocks/>
            </p:cNvCxnSpPr>
            <p:nvPr/>
          </p:nvCxnSpPr>
          <p:spPr>
            <a:xfrm>
              <a:off x="5303493" y="3068710"/>
              <a:ext cx="0" cy="1468312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F18F302E-16CC-4D75-84C8-D76849FE1E57}"/>
                </a:ext>
              </a:extLst>
            </p:cNvPr>
            <p:cNvGrpSpPr/>
            <p:nvPr/>
          </p:nvGrpSpPr>
          <p:grpSpPr>
            <a:xfrm>
              <a:off x="5022462" y="3413381"/>
              <a:ext cx="562062" cy="562062"/>
              <a:chOff x="5036697" y="3413381"/>
              <a:chExt cx="562062" cy="562062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105A81D-5840-4432-8319-690C18B270A6}"/>
                  </a:ext>
                </a:extLst>
              </p:cNvPr>
              <p:cNvSpPr/>
              <p:nvPr/>
            </p:nvSpPr>
            <p:spPr>
              <a:xfrm>
                <a:off x="5036697" y="3413381"/>
                <a:ext cx="562062" cy="56206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11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3367CD"/>
                  </a:buClr>
                  <a:defRPr/>
                </a:pPr>
                <a:endParaRPr lang="en-US" sz="16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pic>
            <p:nvPicPr>
              <p:cNvPr id="113" name="Graphic 112">
                <a:extLst>
                  <a:ext uri="{FF2B5EF4-FFF2-40B4-BE49-F238E27FC236}">
                    <a16:creationId xmlns:a16="http://schemas.microsoft.com/office/drawing/2014/main" id="{A4DC38D7-825A-468E-966D-CF1D1F81EC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136642" y="3580506"/>
                <a:ext cx="383596" cy="196716"/>
              </a:xfrm>
              <a:prstGeom prst="rect">
                <a:avLst/>
              </a:prstGeom>
            </p:spPr>
          </p:pic>
        </p:grp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F0728BD2-B28D-40B9-A9F6-74FDE6A6DE5A}"/>
              </a:ext>
            </a:extLst>
          </p:cNvPr>
          <p:cNvSpPr txBox="1"/>
          <p:nvPr/>
        </p:nvSpPr>
        <p:spPr>
          <a:xfrm>
            <a:off x="457200" y="2694117"/>
            <a:ext cx="41148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FFFFFF"/>
                </a:solidFill>
                <a:latin typeface="Arial" panose="020B0604020202020204"/>
              </a:rPr>
              <a:t>ES Americas by System</a:t>
            </a:r>
          </a:p>
        </p:txBody>
      </p:sp>
    </p:spTree>
    <p:extLst>
      <p:ext uri="{BB962C8B-B14F-4D97-AF65-F5344CB8AC3E}">
        <p14:creationId xmlns:p14="http://schemas.microsoft.com/office/powerpoint/2010/main" val="29394660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3619B64-9BB9-477C-BE4C-1ED979FCB2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3619B64-9BB9-477C-BE4C-1ED979FCB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C34D46-F4FD-4C8C-BE95-B5FC7E78F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>
                <a:solidFill>
                  <a:srgbClr val="005EB8"/>
                </a:solidFill>
                <a:latin typeface="Ariel"/>
              </a:rPr>
              <a:t>The program roadmap establishes an ERP Order Hub as the foundation, builds ERP Plant Templates for scale, and deploys in phases to mitigate risk.</a:t>
            </a:r>
            <a:endParaRPr lang="en-US">
              <a:latin typeface="Ariel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A6D479-ECA8-4E82-9496-D814844A63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>
                <a:latin typeface="Ariel"/>
              </a:rPr>
              <a:pPr/>
              <a:t>5</a:t>
            </a:fld>
            <a:endParaRPr lang="en-US">
              <a:latin typeface="Arie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8332DC-2AAE-449F-9249-C84EAA2B2C63}"/>
              </a:ext>
            </a:extLst>
          </p:cNvPr>
          <p:cNvSpPr txBox="1"/>
          <p:nvPr/>
        </p:nvSpPr>
        <p:spPr>
          <a:xfrm>
            <a:off x="507402" y="1191636"/>
            <a:ext cx="229764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b="1">
                <a:solidFill>
                  <a:srgbClr val="12A0B2"/>
                </a:solidFill>
                <a:latin typeface="Ariel"/>
              </a:rPr>
              <a:t>Phase 1: ERP Order Hub</a:t>
            </a:r>
          </a:p>
          <a:p>
            <a:pPr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Establish the foundation for future plant migrations while delivering stand-alone benefit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051FD2D-096B-4F52-8B61-64A606ED487F}"/>
              </a:ext>
            </a:extLst>
          </p:cNvPr>
          <p:cNvCxnSpPr>
            <a:cxnSpLocks/>
          </p:cNvCxnSpPr>
          <p:nvPr/>
        </p:nvCxnSpPr>
        <p:spPr>
          <a:xfrm>
            <a:off x="507402" y="1185494"/>
            <a:ext cx="0" cy="3248943"/>
          </a:xfrm>
          <a:prstGeom prst="line">
            <a:avLst/>
          </a:prstGeom>
          <a:ln w="28575">
            <a:solidFill>
              <a:srgbClr val="12A0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tangle 143">
            <a:extLst>
              <a:ext uri="{FF2B5EF4-FFF2-40B4-BE49-F238E27FC236}">
                <a16:creationId xmlns:a16="http://schemas.microsoft.com/office/drawing/2014/main" id="{E1ED18A4-E911-4832-9470-AAABE874B8FD}"/>
              </a:ext>
            </a:extLst>
          </p:cNvPr>
          <p:cNvSpPr/>
          <p:nvPr/>
        </p:nvSpPr>
        <p:spPr>
          <a:xfrm>
            <a:off x="507404" y="1877425"/>
            <a:ext cx="2083756" cy="292608"/>
          </a:xfrm>
          <a:prstGeom prst="rect">
            <a:avLst/>
          </a:prstGeom>
          <a:solidFill>
            <a:srgbClr val="12A0B2"/>
          </a:solidFill>
          <a:ln>
            <a:solidFill>
              <a:srgbClr val="12A0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050">
                <a:solidFill>
                  <a:srgbClr val="FFFFFF"/>
                </a:solidFill>
                <a:latin typeface="Ariel"/>
              </a:rPr>
              <a:t>ERP Order Hub</a:t>
            </a: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A922E2B4-F8A6-41E3-BD45-458CEE91AC42}"/>
              </a:ext>
            </a:extLst>
          </p:cNvPr>
          <p:cNvSpPr/>
          <p:nvPr/>
        </p:nvSpPr>
        <p:spPr>
          <a:xfrm>
            <a:off x="2410377" y="1787880"/>
            <a:ext cx="433882" cy="429768"/>
          </a:xfrm>
          <a:prstGeom prst="ellipse">
            <a:avLst/>
          </a:prstGeom>
          <a:solidFill>
            <a:srgbClr val="0B5E69"/>
          </a:solidFill>
          <a:ln>
            <a:solidFill>
              <a:srgbClr val="0B5E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el"/>
            </a:endParaRPr>
          </a:p>
        </p:txBody>
      </p:sp>
      <p:pic>
        <p:nvPicPr>
          <p:cNvPr id="146" name="Graphic 145" descr="Money with solid fill">
            <a:extLst>
              <a:ext uri="{FF2B5EF4-FFF2-40B4-BE49-F238E27FC236}">
                <a16:creationId xmlns:a16="http://schemas.microsoft.com/office/drawing/2014/main" id="{9D01C30C-3294-4E68-BC62-2CA3887FC78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2481282" y="1902789"/>
            <a:ext cx="292072" cy="246281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515974CF-BEB4-4EE3-87B3-4FE4E38908C1}"/>
              </a:ext>
            </a:extLst>
          </p:cNvPr>
          <p:cNvSpPr txBox="1"/>
          <p:nvPr/>
        </p:nvSpPr>
        <p:spPr>
          <a:xfrm>
            <a:off x="584885" y="2179773"/>
            <a:ext cx="24366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7472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Capabilities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Order management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Credit management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Global trade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Accounts receivables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Intercompany purchasing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EDI</a:t>
            </a:r>
          </a:p>
          <a:p>
            <a:pPr marL="117472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Outcomes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 b="1">
                <a:solidFill>
                  <a:srgbClr val="000000"/>
                </a:solidFill>
                <a:latin typeface="Ariel"/>
              </a:rPr>
              <a:t>Foundation of One Eaton order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Reduced price increase times 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 b="1">
                <a:solidFill>
                  <a:srgbClr val="000000"/>
                </a:solidFill>
                <a:latin typeface="Ariel"/>
              </a:rPr>
              <a:t>Simplified M&amp;A integration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 b="1">
                <a:solidFill>
                  <a:srgbClr val="000000"/>
                </a:solidFill>
                <a:latin typeface="Ariel"/>
              </a:rPr>
              <a:t>Insulate customers from ERP changes</a:t>
            </a:r>
          </a:p>
          <a:p>
            <a:pPr marL="287331" lvl="1" indent="-117472">
              <a:buSzPct val="150000"/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Isolate plants to create deployment flexibility</a:t>
            </a:r>
          </a:p>
          <a:p>
            <a:pPr marL="117472" indent="-117472">
              <a:buFont typeface="Arial" panose="020B0604020202020204" pitchFamily="34" charset="0"/>
              <a:buChar char="•"/>
              <a:defRPr/>
            </a:pPr>
            <a:endParaRPr lang="en-US" sz="900">
              <a:solidFill>
                <a:srgbClr val="000000"/>
              </a:solidFill>
              <a:latin typeface="Ariel"/>
            </a:endParaRP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endParaRPr lang="en-US" sz="900">
              <a:solidFill>
                <a:srgbClr val="000000"/>
              </a:solidFill>
              <a:latin typeface="Ariel"/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EB4E843C-E6CA-4AD6-8B56-17F162AA25D3}"/>
              </a:ext>
            </a:extLst>
          </p:cNvPr>
          <p:cNvCxnSpPr>
            <a:cxnSpLocks/>
          </p:cNvCxnSpPr>
          <p:nvPr/>
        </p:nvCxnSpPr>
        <p:spPr>
          <a:xfrm>
            <a:off x="493226" y="1185493"/>
            <a:ext cx="2346417" cy="0"/>
          </a:xfrm>
          <a:prstGeom prst="line">
            <a:avLst/>
          </a:prstGeom>
          <a:ln w="28575">
            <a:solidFill>
              <a:srgbClr val="12A0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84">
            <a:extLst>
              <a:ext uri="{FF2B5EF4-FFF2-40B4-BE49-F238E27FC236}">
                <a16:creationId xmlns:a16="http://schemas.microsoft.com/office/drawing/2014/main" id="{9B0234C9-6E34-4B3D-8928-0207AF85FB7F}"/>
              </a:ext>
            </a:extLst>
          </p:cNvPr>
          <p:cNvSpPr txBox="1"/>
          <p:nvPr/>
        </p:nvSpPr>
        <p:spPr>
          <a:xfrm>
            <a:off x="3454881" y="1192544"/>
            <a:ext cx="2153483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b="1">
                <a:latin typeface="Ariel"/>
              </a:rPr>
              <a:t>Phase 2: ERP Plant template</a:t>
            </a:r>
            <a:r>
              <a:rPr lang="en-US" sz="1100" b="1">
                <a:solidFill>
                  <a:srgbClr val="000000"/>
                </a:solidFill>
                <a:latin typeface="Ariel"/>
              </a:rPr>
              <a:t> </a:t>
            </a:r>
          </a:p>
          <a:p>
            <a:pPr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Extend S/4 model to plants, base template &amp; pilot; prove the model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514AA6FB-5A82-4DFA-AE10-2110D63332AE}"/>
              </a:ext>
            </a:extLst>
          </p:cNvPr>
          <p:cNvSpPr/>
          <p:nvPr/>
        </p:nvSpPr>
        <p:spPr>
          <a:xfrm>
            <a:off x="3448656" y="1877426"/>
            <a:ext cx="2153482" cy="28880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050">
                <a:solidFill>
                  <a:srgbClr val="FFFFFF"/>
                </a:solidFill>
                <a:latin typeface="Ariel"/>
              </a:rPr>
              <a:t>Pilot 1.0</a:t>
            </a:r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DC079BD8-08D4-4636-A743-1AD015B691FB}"/>
              </a:ext>
            </a:extLst>
          </p:cNvPr>
          <p:cNvSpPr/>
          <p:nvPr/>
        </p:nvSpPr>
        <p:spPr>
          <a:xfrm>
            <a:off x="5453409" y="1806246"/>
            <a:ext cx="433882" cy="43388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el"/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71E142D1-5DDE-4065-8C7A-89790B4A4C62}"/>
              </a:ext>
            </a:extLst>
          </p:cNvPr>
          <p:cNvSpPr txBox="1">
            <a:spLocks/>
          </p:cNvSpPr>
          <p:nvPr/>
        </p:nvSpPr>
        <p:spPr>
          <a:xfrm>
            <a:off x="3487878" y="2179342"/>
            <a:ext cx="2252821" cy="23621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17472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Capabilities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Logistics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Manufacturing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Procurement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Warehouse management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EH&amp;S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Made-to-Stock &amp; Made-to-Order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Simple Engineer-to-Order (ETO)</a:t>
            </a:r>
          </a:p>
          <a:p>
            <a:pPr marL="117472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Outcomes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Simplified user experience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Consolidated ES-A processes – governed template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Improved productivity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000000"/>
                </a:solidFill>
                <a:latin typeface="Ariel"/>
              </a:rPr>
              <a:t>Detailed plant profitability</a:t>
            </a:r>
          </a:p>
          <a:p>
            <a:pPr marL="287331" lvl="1" indent="-117472">
              <a:buFont typeface="Arial" panose="020B0604020202020204" pitchFamily="34" charset="0"/>
              <a:buChar char="•"/>
              <a:defRPr/>
            </a:pPr>
            <a:r>
              <a:rPr lang="en-US" sz="900" b="1">
                <a:solidFill>
                  <a:srgbClr val="000000"/>
                </a:solidFill>
                <a:latin typeface="Ariel"/>
              </a:rPr>
              <a:t>Cleveland TN Pilot</a:t>
            </a:r>
          </a:p>
        </p:txBody>
      </p: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A51D50AE-D6EE-404B-9B70-6E47E77BA6C6}"/>
              </a:ext>
            </a:extLst>
          </p:cNvPr>
          <p:cNvCxnSpPr>
            <a:cxnSpLocks/>
          </p:cNvCxnSpPr>
          <p:nvPr/>
        </p:nvCxnSpPr>
        <p:spPr>
          <a:xfrm>
            <a:off x="6330837" y="1181394"/>
            <a:ext cx="23746" cy="3248941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 descr="Factory outline">
            <a:extLst>
              <a:ext uri="{FF2B5EF4-FFF2-40B4-BE49-F238E27FC236}">
                <a16:creationId xmlns:a16="http://schemas.microsoft.com/office/drawing/2014/main" id="{0D453D17-804A-4FEE-B0AD-4B7CE93D95B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38630" y="1856460"/>
            <a:ext cx="292608" cy="292608"/>
          </a:xfrm>
          <a:prstGeom prst="rect">
            <a:avLst/>
          </a:prstGeom>
        </p:spPr>
      </p:pic>
      <p:sp>
        <p:nvSpPr>
          <p:cNvPr id="37" name="Arrow: Pentagon 36">
            <a:extLst>
              <a:ext uri="{FF2B5EF4-FFF2-40B4-BE49-F238E27FC236}">
                <a16:creationId xmlns:a16="http://schemas.microsoft.com/office/drawing/2014/main" id="{69FF0885-29C1-44F5-8F7C-330FDBB6F978}"/>
              </a:ext>
            </a:extLst>
          </p:cNvPr>
          <p:cNvSpPr/>
          <p:nvPr/>
        </p:nvSpPr>
        <p:spPr>
          <a:xfrm>
            <a:off x="520148" y="923924"/>
            <a:ext cx="2346417" cy="182880"/>
          </a:xfrm>
          <a:prstGeom prst="homePlate">
            <a:avLst/>
          </a:prstGeom>
          <a:solidFill>
            <a:srgbClr val="12A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00" b="1">
                <a:solidFill>
                  <a:prstClr val="white"/>
                </a:solidFill>
                <a:latin typeface="Ariel"/>
              </a:rPr>
              <a:t>2022 - 2023</a:t>
            </a:r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C7C1D66F-C0F6-4B9A-BED8-3189103353A3}"/>
              </a:ext>
            </a:extLst>
          </p:cNvPr>
          <p:cNvSpPr/>
          <p:nvPr/>
        </p:nvSpPr>
        <p:spPr>
          <a:xfrm>
            <a:off x="3414418" y="923924"/>
            <a:ext cx="2252400" cy="189113"/>
          </a:xfrm>
          <a:prstGeom prst="homePlat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00" b="1">
                <a:solidFill>
                  <a:prstClr val="white"/>
                </a:solidFill>
                <a:latin typeface="Ariel"/>
              </a:rPr>
              <a:t>2024</a:t>
            </a:r>
          </a:p>
        </p:txBody>
      </p:sp>
      <p:sp>
        <p:nvSpPr>
          <p:cNvPr id="39" name="Arrow: Pentagon 38">
            <a:extLst>
              <a:ext uri="{FF2B5EF4-FFF2-40B4-BE49-F238E27FC236}">
                <a16:creationId xmlns:a16="http://schemas.microsoft.com/office/drawing/2014/main" id="{D17521CF-C21D-4776-AC22-20547B40E8A3}"/>
              </a:ext>
            </a:extLst>
          </p:cNvPr>
          <p:cNvSpPr/>
          <p:nvPr/>
        </p:nvSpPr>
        <p:spPr>
          <a:xfrm>
            <a:off x="6326414" y="923924"/>
            <a:ext cx="2286000" cy="182880"/>
          </a:xfrm>
          <a:prstGeom prst="homePlat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r>
              <a:rPr lang="en-US" sz="1000" b="1">
                <a:solidFill>
                  <a:prstClr val="white"/>
                </a:solidFill>
                <a:latin typeface="Ariel"/>
              </a:rPr>
              <a:t>2024 +</a:t>
            </a: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4B119736-C056-4BAB-A976-1EFEE7709CD3}"/>
              </a:ext>
            </a:extLst>
          </p:cNvPr>
          <p:cNvCxnSpPr>
            <a:cxnSpLocks/>
          </p:cNvCxnSpPr>
          <p:nvPr/>
        </p:nvCxnSpPr>
        <p:spPr>
          <a:xfrm>
            <a:off x="3427588" y="1185262"/>
            <a:ext cx="0" cy="3249174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0F2964CA-60A1-43C7-A1BE-1B7D39391912}"/>
              </a:ext>
            </a:extLst>
          </p:cNvPr>
          <p:cNvCxnSpPr>
            <a:cxnSpLocks/>
          </p:cNvCxnSpPr>
          <p:nvPr/>
        </p:nvCxnSpPr>
        <p:spPr>
          <a:xfrm>
            <a:off x="3414421" y="1185259"/>
            <a:ext cx="225228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6FCDB06C-C9FD-4D95-B8C7-54470F994EC9}"/>
              </a:ext>
            </a:extLst>
          </p:cNvPr>
          <p:cNvGrpSpPr/>
          <p:nvPr/>
        </p:nvGrpSpPr>
        <p:grpSpPr>
          <a:xfrm>
            <a:off x="6316658" y="1181395"/>
            <a:ext cx="2397906" cy="3294121"/>
            <a:chOff x="5701487" y="971002"/>
            <a:chExt cx="2139441" cy="3294122"/>
          </a:xfrm>
        </p:grpSpPr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id="{B8A1FE54-99DB-4297-AE96-54CE0F2BDBA0}"/>
                </a:ext>
              </a:extLst>
            </p:cNvPr>
            <p:cNvSpPr txBox="1"/>
            <p:nvPr/>
          </p:nvSpPr>
          <p:spPr>
            <a:xfrm>
              <a:off x="5714135" y="978286"/>
              <a:ext cx="2029868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100" b="1">
                  <a:solidFill>
                    <a:srgbClr val="000000"/>
                  </a:solidFill>
                  <a:latin typeface="Ariel"/>
                </a:rPr>
                <a:t>Phase 3: ERP Rollout</a:t>
              </a:r>
            </a:p>
            <a:p>
              <a:pPr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Pilot ETO, implement localizations, scaled model and rollout</a:t>
              </a:r>
            </a:p>
          </p:txBody>
        </p: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C9790F9F-4903-499E-86F0-D943B2EAAF4E}"/>
                </a:ext>
              </a:extLst>
            </p:cNvPr>
            <p:cNvCxnSpPr>
              <a:cxnSpLocks/>
            </p:cNvCxnSpPr>
            <p:nvPr/>
          </p:nvCxnSpPr>
          <p:spPr>
            <a:xfrm>
              <a:off x="5701487" y="971002"/>
              <a:ext cx="2029867" cy="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5242BDB0-5CFE-4E98-BC53-FC5EFD1A96B7}"/>
                </a:ext>
              </a:extLst>
            </p:cNvPr>
            <p:cNvSpPr/>
            <p:nvPr/>
          </p:nvSpPr>
          <p:spPr>
            <a:xfrm>
              <a:off x="5731559" y="1676553"/>
              <a:ext cx="1802731" cy="27928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1050">
                  <a:solidFill>
                    <a:srgbClr val="FFFFFF"/>
                  </a:solidFill>
                  <a:latin typeface="Ariel"/>
                </a:rPr>
                <a:t>Pilot 2.0</a:t>
              </a: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D33598A7-3F0C-4FF9-9307-DCFF7925642F}"/>
                </a:ext>
              </a:extLst>
            </p:cNvPr>
            <p:cNvSpPr/>
            <p:nvPr/>
          </p:nvSpPr>
          <p:spPr>
            <a:xfrm>
              <a:off x="7457484" y="1605374"/>
              <a:ext cx="383444" cy="42976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el"/>
              </a:endParaRPr>
            </a:p>
          </p:txBody>
        </p:sp>
        <p:pic>
          <p:nvPicPr>
            <p:cNvPr id="245" name="Graphic 244" descr="Circles with arrows with solid fill">
              <a:extLst>
                <a:ext uri="{FF2B5EF4-FFF2-40B4-BE49-F238E27FC236}">
                  <a16:creationId xmlns:a16="http://schemas.microsoft.com/office/drawing/2014/main" id="{A557437E-9DFB-4ACE-8151-3177F6E8D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516791" y="1663251"/>
              <a:ext cx="292072" cy="292072"/>
            </a:xfrm>
            <a:prstGeom prst="rect">
              <a:avLst/>
            </a:prstGeom>
          </p:spPr>
        </p:pic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60EC637A-CE53-4ABF-BDD5-D19B53A8DABA}"/>
                </a:ext>
              </a:extLst>
            </p:cNvPr>
            <p:cNvSpPr txBox="1"/>
            <p:nvPr/>
          </p:nvSpPr>
          <p:spPr>
            <a:xfrm>
              <a:off x="5815364" y="1963592"/>
              <a:ext cx="187376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17472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Capabilities</a:t>
              </a:r>
            </a:p>
            <a:p>
              <a:pPr marL="287331" lvl="1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Complex ETO</a:t>
              </a:r>
            </a:p>
            <a:p>
              <a:pPr marL="117472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Outcomes</a:t>
              </a:r>
            </a:p>
            <a:p>
              <a:pPr marL="287331" lvl="1" indent="-117472">
                <a:buFont typeface="Arial" panose="020B0604020202020204" pitchFamily="34" charset="0"/>
                <a:buChar char="•"/>
                <a:defRPr/>
              </a:pPr>
              <a:r>
                <a:rPr lang="en-US" sz="900" b="1">
                  <a:solidFill>
                    <a:srgbClr val="000000"/>
                  </a:solidFill>
                  <a:latin typeface="Ariel"/>
                </a:rPr>
                <a:t>Laurens &amp; Hodges Pilot</a:t>
              </a:r>
            </a:p>
            <a:p>
              <a:pPr marL="287331" lvl="1" indent="-117472">
                <a:buFont typeface="Arial" panose="020B0604020202020204" pitchFamily="34" charset="0"/>
                <a:buChar char="•"/>
                <a:defRPr/>
              </a:pPr>
              <a:r>
                <a:rPr lang="en-US" sz="900" b="1">
                  <a:solidFill>
                    <a:srgbClr val="000000"/>
                  </a:solidFill>
                  <a:latin typeface="Ariel"/>
                </a:rPr>
                <a:t>Proven ETO model</a:t>
              </a:r>
            </a:p>
            <a:p>
              <a:pPr marL="287331" lvl="1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Solution confidence</a:t>
              </a: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04CB92B9-3627-43F0-AEA8-F3C0A237379D}"/>
                </a:ext>
              </a:extLst>
            </p:cNvPr>
            <p:cNvSpPr/>
            <p:nvPr/>
          </p:nvSpPr>
          <p:spPr>
            <a:xfrm>
              <a:off x="5737883" y="2891980"/>
              <a:ext cx="1802731" cy="27928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1050">
                  <a:solidFill>
                    <a:srgbClr val="FFFFFF"/>
                  </a:solidFill>
                  <a:latin typeface="Ariel"/>
                </a:rPr>
                <a:t>ERP Rollout</a:t>
              </a: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3E4F60D5-A04C-4B8F-8CD6-702245300D36}"/>
                </a:ext>
              </a:extLst>
            </p:cNvPr>
            <p:cNvSpPr/>
            <p:nvPr/>
          </p:nvSpPr>
          <p:spPr>
            <a:xfrm>
              <a:off x="7457484" y="2820801"/>
              <a:ext cx="383444" cy="42976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el"/>
              </a:endParaRPr>
            </a:p>
          </p:txBody>
        </p:sp>
        <p:pic>
          <p:nvPicPr>
            <p:cNvPr id="253" name="Graphic 252" descr="Chevron arrows with solid fill">
              <a:extLst>
                <a:ext uri="{FF2B5EF4-FFF2-40B4-BE49-F238E27FC236}">
                  <a16:creationId xmlns:a16="http://schemas.microsoft.com/office/drawing/2014/main" id="{CA4F85C3-44E5-4EC7-86DD-7B092ADBFF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16931" y="2907890"/>
              <a:ext cx="292072" cy="292072"/>
            </a:xfrm>
            <a:prstGeom prst="rect">
              <a:avLst/>
            </a:prstGeom>
          </p:spPr>
        </p:pic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B3C58006-E4FD-4334-B883-AD7FDDED3CFA}"/>
                </a:ext>
              </a:extLst>
            </p:cNvPr>
            <p:cNvSpPr txBox="1"/>
            <p:nvPr/>
          </p:nvSpPr>
          <p:spPr>
            <a:xfrm>
              <a:off x="5822879" y="3203295"/>
              <a:ext cx="1794925" cy="10618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17472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Capabilities</a:t>
              </a:r>
            </a:p>
            <a:p>
              <a:pPr marL="287331" lvl="1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Services</a:t>
              </a:r>
            </a:p>
            <a:p>
              <a:pPr marL="287331" lvl="1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Localizations</a:t>
              </a:r>
            </a:p>
            <a:p>
              <a:pPr marL="117472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Outcomes</a:t>
              </a:r>
            </a:p>
            <a:p>
              <a:pPr marL="287331" lvl="1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Site deployments at scale</a:t>
              </a:r>
            </a:p>
            <a:p>
              <a:pPr marL="287331" lvl="1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Integrated supply chain</a:t>
              </a:r>
            </a:p>
            <a:p>
              <a:pPr marL="287331" lvl="1" indent="-117472">
                <a:buFont typeface="Arial" panose="020B0604020202020204" pitchFamily="34" charset="0"/>
                <a:buChar char="•"/>
                <a:defRPr/>
              </a:pPr>
              <a:r>
                <a:rPr lang="en-US" sz="900">
                  <a:solidFill>
                    <a:srgbClr val="000000"/>
                  </a:solidFill>
                  <a:latin typeface="Ariel"/>
                </a:rPr>
                <a:t>End-to-End visibility of invent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17764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01F78-913F-4AF7-AAD0-652490640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>
                <a:latin typeface="Ariel"/>
              </a:rPr>
              <a:t>A series of workshops were completed to design the 40 level 2 business processes that define the ERP Order Hub model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941005-7B73-4270-847F-62DB63791B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>
                <a:latin typeface="Ariel"/>
              </a:rPr>
              <a:pPr/>
              <a:t>6</a:t>
            </a:fld>
            <a:endParaRPr lang="en-US">
              <a:latin typeface="Arie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AFE60D-7A2B-4852-ACDF-316C47406183}"/>
              </a:ext>
            </a:extLst>
          </p:cNvPr>
          <p:cNvSpPr/>
          <p:nvPr/>
        </p:nvSpPr>
        <p:spPr>
          <a:xfrm>
            <a:off x="394875" y="1476231"/>
            <a:ext cx="1459327" cy="888538"/>
          </a:xfrm>
          <a:prstGeom prst="rect">
            <a:avLst/>
          </a:prstGeom>
          <a:solidFill>
            <a:srgbClr val="2C3F8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 defTabSz="685766">
              <a:defRPr/>
            </a:pPr>
            <a:r>
              <a:rPr lang="en-US" sz="2400" kern="0">
                <a:solidFill>
                  <a:schemeClr val="bg1"/>
                </a:solidFill>
                <a:latin typeface="Ariel"/>
              </a:rPr>
              <a:t>49</a:t>
            </a:r>
          </a:p>
          <a:p>
            <a:pPr algn="ctr" defTabSz="685766">
              <a:defRPr/>
            </a:pPr>
            <a:r>
              <a:rPr lang="en-US" sz="1000" kern="0">
                <a:solidFill>
                  <a:prstClr val="white"/>
                </a:solidFill>
                <a:latin typeface="Ariel"/>
              </a:rPr>
              <a:t>Total Workshop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D1986C-C11F-4F35-ACAE-39A32070FCCB}"/>
              </a:ext>
            </a:extLst>
          </p:cNvPr>
          <p:cNvSpPr/>
          <p:nvPr/>
        </p:nvSpPr>
        <p:spPr>
          <a:xfrm>
            <a:off x="1953262" y="1476231"/>
            <a:ext cx="1459327" cy="8885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 defTabSz="685766">
              <a:defRPr/>
            </a:pPr>
            <a:r>
              <a:rPr lang="en-US" sz="2400" kern="0">
                <a:solidFill>
                  <a:schemeClr val="bg1"/>
                </a:solidFill>
                <a:latin typeface="Ariel"/>
              </a:rPr>
              <a:t>2-4 hrs</a:t>
            </a:r>
            <a:endParaRPr lang="en-US">
              <a:solidFill>
                <a:schemeClr val="bg1"/>
              </a:solidFill>
              <a:latin typeface="Ariel"/>
            </a:endParaRPr>
          </a:p>
          <a:p>
            <a:pPr algn="ctr" defTabSz="685766">
              <a:defRPr/>
            </a:pPr>
            <a:r>
              <a:rPr lang="en-US" sz="1000" kern="0">
                <a:solidFill>
                  <a:prstClr val="white"/>
                </a:solidFill>
                <a:latin typeface="Ariel"/>
              </a:rPr>
              <a:t>Workshop Dur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3FA61F-D1A6-488A-AD3F-BB92FEA2D5D8}"/>
              </a:ext>
            </a:extLst>
          </p:cNvPr>
          <p:cNvSpPr/>
          <p:nvPr/>
        </p:nvSpPr>
        <p:spPr>
          <a:xfrm>
            <a:off x="394875" y="2530329"/>
            <a:ext cx="1459327" cy="8885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 defTabSz="685766">
              <a:defRPr/>
            </a:pPr>
            <a:r>
              <a:rPr lang="en-US" sz="2400" kern="0">
                <a:solidFill>
                  <a:schemeClr val="bg1"/>
                </a:solidFill>
                <a:latin typeface="Ariel"/>
              </a:rPr>
              <a:t>14</a:t>
            </a:r>
          </a:p>
          <a:p>
            <a:pPr algn="ctr" defTabSz="685766">
              <a:defRPr/>
            </a:pPr>
            <a:r>
              <a:rPr lang="en-US" sz="1000" kern="0">
                <a:solidFill>
                  <a:prstClr val="white"/>
                </a:solidFill>
                <a:latin typeface="Ariel"/>
              </a:rPr>
              <a:t>Maximum Workshops per Week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9C5A897-7746-4437-935C-85E56DBE09B9}"/>
              </a:ext>
            </a:extLst>
          </p:cNvPr>
          <p:cNvSpPr/>
          <p:nvPr/>
        </p:nvSpPr>
        <p:spPr>
          <a:xfrm>
            <a:off x="1953261" y="2530329"/>
            <a:ext cx="1459327" cy="88853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 defTabSz="685766">
              <a:defRPr/>
            </a:pPr>
            <a:r>
              <a:rPr lang="en-US" sz="2400" kern="0">
                <a:solidFill>
                  <a:schemeClr val="bg1"/>
                </a:solidFill>
                <a:latin typeface="Ariel"/>
              </a:rPr>
              <a:t>12</a:t>
            </a:r>
          </a:p>
          <a:p>
            <a:pPr algn="ctr" defTabSz="685766">
              <a:defRPr/>
            </a:pPr>
            <a:r>
              <a:rPr lang="en-US" sz="1000" kern="0">
                <a:solidFill>
                  <a:prstClr val="white"/>
                </a:solidFill>
                <a:latin typeface="Ariel"/>
              </a:rPr>
              <a:t>Total Align Workshop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408F8EB-AC1E-47A3-AD14-6BB58E5B0006}"/>
              </a:ext>
            </a:extLst>
          </p:cNvPr>
          <p:cNvCxnSpPr>
            <a:cxnSpLocks/>
          </p:cNvCxnSpPr>
          <p:nvPr/>
        </p:nvCxnSpPr>
        <p:spPr>
          <a:xfrm>
            <a:off x="3658756" y="898311"/>
            <a:ext cx="0" cy="3669677"/>
          </a:xfrm>
          <a:prstGeom prst="line">
            <a:avLst/>
          </a:prstGeom>
          <a:noFill/>
          <a:ln w="6350" cap="flat" cmpd="sng" algn="ctr">
            <a:solidFill>
              <a:srgbClr val="667C82"/>
            </a:solidFill>
            <a:prstDash val="solid"/>
            <a:miter lim="800000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9B18302-741D-4464-94A8-27D597061C62}"/>
              </a:ext>
            </a:extLst>
          </p:cNvPr>
          <p:cNvCxnSpPr>
            <a:cxnSpLocks/>
          </p:cNvCxnSpPr>
          <p:nvPr/>
        </p:nvCxnSpPr>
        <p:spPr>
          <a:xfrm>
            <a:off x="429284" y="1099976"/>
            <a:ext cx="2983303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1AC46A2-7922-4C99-9A59-A4A1B71FBE37}"/>
              </a:ext>
            </a:extLst>
          </p:cNvPr>
          <p:cNvSpPr txBox="1"/>
          <p:nvPr/>
        </p:nvSpPr>
        <p:spPr>
          <a:xfrm>
            <a:off x="394874" y="754497"/>
            <a:ext cx="301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defRPr/>
            </a:pPr>
            <a:r>
              <a:rPr lang="en-US" sz="1400" b="1" kern="0">
                <a:latin typeface="Ariel"/>
              </a:rPr>
              <a:t>Consolidated Summar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783EEA6-FEFE-4AE5-A772-8FD3366FBD20}"/>
              </a:ext>
            </a:extLst>
          </p:cNvPr>
          <p:cNvSpPr txBox="1"/>
          <p:nvPr/>
        </p:nvSpPr>
        <p:spPr>
          <a:xfrm>
            <a:off x="4289225" y="754497"/>
            <a:ext cx="46954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defRPr/>
            </a:pPr>
            <a:r>
              <a:rPr lang="en-US" sz="1400" b="1" kern="0">
                <a:latin typeface="Ariel"/>
              </a:rPr>
              <a:t>Process Design Elements (In progress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1B18ED5-349D-4BEA-9811-39E7B04A1A5E}"/>
              </a:ext>
            </a:extLst>
          </p:cNvPr>
          <p:cNvSpPr/>
          <p:nvPr/>
        </p:nvSpPr>
        <p:spPr>
          <a:xfrm>
            <a:off x="394875" y="3582642"/>
            <a:ext cx="1459327" cy="88853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 defTabSz="685766">
              <a:defRPr/>
            </a:pPr>
            <a:r>
              <a:rPr lang="en-US" sz="2400" kern="0">
                <a:solidFill>
                  <a:schemeClr val="bg1"/>
                </a:solidFill>
                <a:latin typeface="Ariel"/>
              </a:rPr>
              <a:t>143 </a:t>
            </a:r>
            <a:r>
              <a:rPr lang="en-US" sz="2400" kern="0" err="1">
                <a:solidFill>
                  <a:schemeClr val="bg1"/>
                </a:solidFill>
                <a:latin typeface="Ariel"/>
              </a:rPr>
              <a:t>hrs</a:t>
            </a:r>
            <a:endParaRPr lang="en-US" sz="2400" kern="0">
              <a:solidFill>
                <a:schemeClr val="bg1"/>
              </a:solidFill>
              <a:latin typeface="Ariel"/>
            </a:endParaRPr>
          </a:p>
          <a:p>
            <a:pPr algn="ctr" defTabSz="685766">
              <a:defRPr/>
            </a:pPr>
            <a:r>
              <a:rPr lang="en-US" sz="1000" kern="0">
                <a:solidFill>
                  <a:prstClr val="white"/>
                </a:solidFill>
                <a:latin typeface="Ariel"/>
              </a:rPr>
              <a:t>Total Design Durat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49AC5E1-CBA6-4417-965A-9E0D9BA23C35}"/>
              </a:ext>
            </a:extLst>
          </p:cNvPr>
          <p:cNvSpPr/>
          <p:nvPr/>
        </p:nvSpPr>
        <p:spPr>
          <a:xfrm>
            <a:off x="1953261" y="3582642"/>
            <a:ext cx="1459327" cy="888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66">
              <a:defRPr/>
            </a:pPr>
            <a:r>
              <a:rPr lang="en-US" sz="2400" kern="0">
                <a:solidFill>
                  <a:prstClr val="white"/>
                </a:solidFill>
                <a:latin typeface="Ariel"/>
              </a:rPr>
              <a:t>184</a:t>
            </a:r>
          </a:p>
          <a:p>
            <a:pPr algn="ctr" defTabSz="685766">
              <a:defRPr/>
            </a:pPr>
            <a:r>
              <a:rPr lang="en-US" sz="1000" kern="0">
                <a:solidFill>
                  <a:prstClr val="white"/>
                </a:solidFill>
                <a:latin typeface="Ariel"/>
              </a:rPr>
              <a:t>SMEs engag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F60512-A824-4F81-82D7-62C95CB63D21}"/>
              </a:ext>
            </a:extLst>
          </p:cNvPr>
          <p:cNvSpPr txBox="1"/>
          <p:nvPr/>
        </p:nvSpPr>
        <p:spPr>
          <a:xfrm>
            <a:off x="4289224" y="1365373"/>
            <a:ext cx="4695446" cy="2839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50">
              <a:latin typeface="Ariel"/>
            </a:endParaRPr>
          </a:p>
          <a:p>
            <a:r>
              <a:rPr lang="en-US" sz="1050" b="1">
                <a:latin typeface="Ariel"/>
              </a:rPr>
              <a:t>Key Design Decision (KDD) </a:t>
            </a:r>
            <a:r>
              <a:rPr lang="en-US" sz="1050">
                <a:latin typeface="Ariel"/>
              </a:rPr>
              <a:t>– </a:t>
            </a:r>
            <a:r>
              <a:rPr lang="en-US" sz="1050" b="1" kern="0">
                <a:latin typeface="Ariel"/>
              </a:rPr>
              <a:t> </a:t>
            </a:r>
            <a:r>
              <a:rPr lang="en-US" sz="1050" kern="0">
                <a:latin typeface="Ariel"/>
              </a:rPr>
              <a:t>is an escalated design decision due to impacts on another workstream, project, or significant organizational change</a:t>
            </a:r>
          </a:p>
          <a:p>
            <a:endParaRPr lang="en-US" sz="1050">
              <a:latin typeface="Ariel"/>
            </a:endParaRPr>
          </a:p>
          <a:p>
            <a:r>
              <a:rPr lang="en-US" sz="1050" b="1">
                <a:latin typeface="Ariel"/>
              </a:rPr>
              <a:t>Requirements Disposition </a:t>
            </a:r>
            <a:r>
              <a:rPr lang="en-US" sz="1050">
                <a:latin typeface="Ariel"/>
              </a:rPr>
              <a:t>– is a categorization of requirements collected through the workshops to confirm whether they are a fit (met by standard S4HANA and industry best practice) or gap (require customization or process change) along with whether they should be included in the scope</a:t>
            </a:r>
          </a:p>
          <a:p>
            <a:endParaRPr lang="en-US" sz="1050">
              <a:latin typeface="Ariel"/>
            </a:endParaRPr>
          </a:p>
          <a:p>
            <a:r>
              <a:rPr lang="en-US" sz="1050" b="1">
                <a:latin typeface="Ariel"/>
              </a:rPr>
              <a:t>Change Impacts </a:t>
            </a:r>
            <a:r>
              <a:rPr lang="en-US" sz="1050">
                <a:latin typeface="Ariel"/>
              </a:rPr>
              <a:t>- describe what is changing between the current state and future state across people, process, and technology dimensions</a:t>
            </a:r>
          </a:p>
          <a:p>
            <a:endParaRPr lang="en-US" sz="1050">
              <a:latin typeface="Ariel"/>
            </a:endParaRPr>
          </a:p>
          <a:p>
            <a:r>
              <a:rPr lang="en-US" sz="1050" b="1">
                <a:latin typeface="Ariel"/>
              </a:rPr>
              <a:t>Process flows </a:t>
            </a:r>
            <a:r>
              <a:rPr lang="en-US" sz="1050">
                <a:latin typeface="Ariel"/>
              </a:rPr>
              <a:t>– depict an end-to-end visualization of future-state business processes, sub-processes, and tasks </a:t>
            </a:r>
          </a:p>
          <a:p>
            <a:endParaRPr lang="en-US" sz="1050" b="1">
              <a:latin typeface="Ariel"/>
            </a:endParaRPr>
          </a:p>
          <a:p>
            <a:r>
              <a:rPr lang="en-US" sz="1050" b="1">
                <a:latin typeface="Ariel"/>
              </a:rPr>
              <a:t>User Story </a:t>
            </a:r>
            <a:r>
              <a:rPr lang="en-US" sz="1050">
                <a:latin typeface="Ariel"/>
              </a:rPr>
              <a:t>– translates requirements into individual components that team members will design, build, and test during the deliver phase</a:t>
            </a:r>
          </a:p>
        </p:txBody>
      </p:sp>
      <p:pic>
        <p:nvPicPr>
          <p:cNvPr id="7" name="Graphic 6" descr="Old Key with solid fill">
            <a:extLst>
              <a:ext uri="{FF2B5EF4-FFF2-40B4-BE49-F238E27FC236}">
                <a16:creationId xmlns:a16="http://schemas.microsoft.com/office/drawing/2014/main" id="{500050F3-6EFC-46B9-82CB-76EFB44275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72032" y="1572581"/>
            <a:ext cx="365760" cy="365760"/>
          </a:xfrm>
          <a:prstGeom prst="rect">
            <a:avLst/>
          </a:prstGeom>
        </p:spPr>
      </p:pic>
      <p:pic>
        <p:nvPicPr>
          <p:cNvPr id="9" name="Graphic 8" descr="Checklist outline">
            <a:extLst>
              <a:ext uri="{FF2B5EF4-FFF2-40B4-BE49-F238E27FC236}">
                <a16:creationId xmlns:a16="http://schemas.microsoft.com/office/drawing/2014/main" id="{A71ADAEA-92ED-4557-BCF3-B4763AF412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15459" y="2146883"/>
            <a:ext cx="457149" cy="414654"/>
          </a:xfrm>
          <a:prstGeom prst="rect">
            <a:avLst/>
          </a:prstGeom>
        </p:spPr>
      </p:pic>
      <p:pic>
        <p:nvPicPr>
          <p:cNvPr id="11" name="Graphic 10" descr="Open book outline">
            <a:extLst>
              <a:ext uri="{FF2B5EF4-FFF2-40B4-BE49-F238E27FC236}">
                <a16:creationId xmlns:a16="http://schemas.microsoft.com/office/drawing/2014/main" id="{CD3F23C7-C84B-40D6-BBFF-181574DC21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4535" y="2835965"/>
            <a:ext cx="497038" cy="497038"/>
          </a:xfrm>
          <a:prstGeom prst="rect">
            <a:avLst/>
          </a:prstGeom>
        </p:spPr>
      </p:pic>
      <p:pic>
        <p:nvPicPr>
          <p:cNvPr id="13" name="Graphic 12" descr="Workflow outline">
            <a:extLst>
              <a:ext uri="{FF2B5EF4-FFF2-40B4-BE49-F238E27FC236}">
                <a16:creationId xmlns:a16="http://schemas.microsoft.com/office/drawing/2014/main" id="{51573674-D7F1-405F-AD58-5F572F2500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15432" y="3449925"/>
            <a:ext cx="457200" cy="457200"/>
          </a:xfrm>
          <a:prstGeom prst="rect">
            <a:avLst/>
          </a:prstGeom>
        </p:spPr>
      </p:pic>
      <p:pic>
        <p:nvPicPr>
          <p:cNvPr id="15" name="Graphic 14" descr="Ui Ux with solid fill">
            <a:extLst>
              <a:ext uri="{FF2B5EF4-FFF2-40B4-BE49-F238E27FC236}">
                <a16:creationId xmlns:a16="http://schemas.microsoft.com/office/drawing/2014/main" id="{517BDBC0-E327-4BA7-AE36-1EB0C90DBF2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854672" y="3964204"/>
            <a:ext cx="377851" cy="377851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103B03D-3D7B-4A2C-A8B8-6298E767C3AF}"/>
              </a:ext>
            </a:extLst>
          </p:cNvPr>
          <p:cNvCxnSpPr>
            <a:cxnSpLocks/>
          </p:cNvCxnSpPr>
          <p:nvPr/>
        </p:nvCxnSpPr>
        <p:spPr>
          <a:xfrm>
            <a:off x="4377829" y="1105443"/>
            <a:ext cx="4509863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924761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986FFF8-7322-4945-BD62-4B98B7C41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6920"/>
            <a:ext cx="8229600" cy="627454"/>
          </a:xfrm>
        </p:spPr>
        <p:txBody>
          <a:bodyPr>
            <a:normAutofit/>
          </a:bodyPr>
          <a:lstStyle/>
          <a:p>
            <a:r>
              <a:rPr lang="en-US" sz="2000">
                <a:solidFill>
                  <a:srgbClr val="005EB8"/>
                </a:solidFill>
                <a:latin typeface="Ariel"/>
              </a:rPr>
              <a:t>Segmentation Heatmap</a:t>
            </a:r>
            <a:endParaRPr lang="en-US" sz="2000">
              <a:latin typeface="Ariel"/>
            </a:endParaRP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7B298776-2DDB-4971-95BE-BDE7DACFEE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51815" y="4767265"/>
            <a:ext cx="534987" cy="274637"/>
          </a:xfrm>
        </p:spPr>
        <p:txBody>
          <a:bodyPr/>
          <a:lstStyle/>
          <a:p>
            <a:fld id="{3F2A62CB-A42E-470E-A301-EA6420987B38}" type="slidenum">
              <a:rPr lang="en-US" smtClean="0">
                <a:latin typeface="Ariel"/>
              </a:rPr>
              <a:pPr/>
              <a:t>7</a:t>
            </a:fld>
            <a:endParaRPr lang="en-US">
              <a:latin typeface="Arie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0A5BC2-0902-4528-AAFB-0BB46662A622}"/>
              </a:ext>
            </a:extLst>
          </p:cNvPr>
          <p:cNvSpPr/>
          <p:nvPr/>
        </p:nvSpPr>
        <p:spPr>
          <a:xfrm>
            <a:off x="2554267" y="808415"/>
            <a:ext cx="2057400" cy="2057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66">
              <a:defRPr/>
            </a:pPr>
            <a:r>
              <a:rPr lang="en-US" sz="800" b="1">
                <a:solidFill>
                  <a:srgbClr val="FFFFFF"/>
                </a:solidFill>
                <a:latin typeface="Ariel"/>
              </a:rPr>
              <a:t>Finan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867FA1-483A-4321-9DB3-C62C618BBEC7}"/>
              </a:ext>
            </a:extLst>
          </p:cNvPr>
          <p:cNvSpPr/>
          <p:nvPr/>
        </p:nvSpPr>
        <p:spPr>
          <a:xfrm>
            <a:off x="6876995" y="813784"/>
            <a:ext cx="2057400" cy="2057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66">
              <a:defRPr/>
            </a:pPr>
            <a:r>
              <a:rPr lang="en-US" sz="788" b="1">
                <a:solidFill>
                  <a:srgbClr val="FFFFFF"/>
                </a:solidFill>
                <a:latin typeface="Ariel"/>
              </a:rPr>
              <a:t>Plan to Produ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FD5D53-5E67-4B63-8688-79E522F1923D}"/>
              </a:ext>
            </a:extLst>
          </p:cNvPr>
          <p:cNvSpPr/>
          <p:nvPr/>
        </p:nvSpPr>
        <p:spPr>
          <a:xfrm>
            <a:off x="388558" y="811071"/>
            <a:ext cx="2057400" cy="2057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66">
              <a:defRPr/>
            </a:pPr>
            <a:r>
              <a:rPr lang="en-US" sz="800" b="1">
                <a:solidFill>
                  <a:srgbClr val="FFFFFF"/>
                </a:solidFill>
                <a:latin typeface="Ariel"/>
              </a:rPr>
              <a:t>Quote to Cas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C000ED-6AE8-46B7-8D09-5C33CED53DF0}"/>
              </a:ext>
            </a:extLst>
          </p:cNvPr>
          <p:cNvSpPr/>
          <p:nvPr/>
        </p:nvSpPr>
        <p:spPr>
          <a:xfrm>
            <a:off x="4707910" y="808627"/>
            <a:ext cx="2057400" cy="2057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66">
              <a:defRPr/>
            </a:pPr>
            <a:r>
              <a:rPr lang="en-US" sz="800" b="1">
                <a:solidFill>
                  <a:srgbClr val="FFFFFF"/>
                </a:solidFill>
                <a:latin typeface="Ariel"/>
              </a:rPr>
              <a:t>Requisition to Chec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A6FA170-5989-4AA5-B0CB-C06FF804BDB8}"/>
              </a:ext>
            </a:extLst>
          </p:cNvPr>
          <p:cNvSpPr/>
          <p:nvPr/>
        </p:nvSpPr>
        <p:spPr>
          <a:xfrm>
            <a:off x="3947189" y="1090961"/>
            <a:ext cx="617220" cy="411480"/>
          </a:xfrm>
          <a:prstGeom prst="rect">
            <a:avLst/>
          </a:prstGeom>
          <a:solidFill>
            <a:srgbClr val="0038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bg1"/>
                </a:solidFill>
                <a:latin typeface="Ariel"/>
              </a:rPr>
              <a:t>Enable Paym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0300A5-948A-4F45-9C40-0C20E780AA41}"/>
              </a:ext>
            </a:extLst>
          </p:cNvPr>
          <p:cNvSpPr/>
          <p:nvPr/>
        </p:nvSpPr>
        <p:spPr>
          <a:xfrm>
            <a:off x="1827905" y="2939843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nage Chargeback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9E78AB7-5674-4D7C-B610-307855C578A1}"/>
              </a:ext>
            </a:extLst>
          </p:cNvPr>
          <p:cNvSpPr/>
          <p:nvPr/>
        </p:nvSpPr>
        <p:spPr>
          <a:xfrm>
            <a:off x="3268088" y="1090961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nage Collec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EDB75B-CFAA-44A3-BF17-F801E2A80140}"/>
              </a:ext>
            </a:extLst>
          </p:cNvPr>
          <p:cNvSpPr/>
          <p:nvPr/>
        </p:nvSpPr>
        <p:spPr>
          <a:xfrm>
            <a:off x="2576876" y="1090961"/>
            <a:ext cx="617220" cy="411480"/>
          </a:xfrm>
          <a:prstGeom prst="rect">
            <a:avLst/>
          </a:prstGeom>
          <a:solidFill>
            <a:srgbClr val="0038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bg1"/>
                </a:solidFill>
                <a:latin typeface="Ariel"/>
              </a:rPr>
              <a:t>Collect Reven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0DF7D02-6930-4633-B0A6-5E127E3C8768}"/>
              </a:ext>
            </a:extLst>
          </p:cNvPr>
          <p:cNvSpPr/>
          <p:nvPr/>
        </p:nvSpPr>
        <p:spPr>
          <a:xfrm>
            <a:off x="1108232" y="2934284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nage Rebates &amp; Settle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34D92BF-A5F0-4014-BCBB-64B1B4FF9B19}"/>
              </a:ext>
            </a:extLst>
          </p:cNvPr>
          <p:cNvSpPr/>
          <p:nvPr/>
        </p:nvSpPr>
        <p:spPr>
          <a:xfrm>
            <a:off x="3958284" y="1548356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nage the General Ledg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38D9AD4-1CC9-4D96-89B0-95200159EADF}"/>
              </a:ext>
            </a:extLst>
          </p:cNvPr>
          <p:cNvSpPr/>
          <p:nvPr/>
        </p:nvSpPr>
        <p:spPr>
          <a:xfrm>
            <a:off x="2577893" y="1545998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nage Deduction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D1A39F6-BD19-41C5-9427-C06E0F17EDC3}"/>
              </a:ext>
            </a:extLst>
          </p:cNvPr>
          <p:cNvSpPr/>
          <p:nvPr/>
        </p:nvSpPr>
        <p:spPr>
          <a:xfrm>
            <a:off x="3275015" y="2018127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Perform Clos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E034110-D0C8-41D9-B81D-AC328C674485}"/>
              </a:ext>
            </a:extLst>
          </p:cNvPr>
          <p:cNvSpPr/>
          <p:nvPr/>
        </p:nvSpPr>
        <p:spPr>
          <a:xfrm>
            <a:off x="3954780" y="2010578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Support Product Cost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351B913-8C24-462F-8290-6CF7E91776C9}"/>
              </a:ext>
            </a:extLst>
          </p:cNvPr>
          <p:cNvSpPr/>
          <p:nvPr/>
        </p:nvSpPr>
        <p:spPr>
          <a:xfrm>
            <a:off x="388558" y="2934284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Perform Bill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1B3B130-CF07-40FA-8EF5-959EC9625FA4}"/>
              </a:ext>
            </a:extLst>
          </p:cNvPr>
          <p:cNvSpPr/>
          <p:nvPr/>
        </p:nvSpPr>
        <p:spPr>
          <a:xfrm>
            <a:off x="2581043" y="2476463"/>
            <a:ext cx="617220" cy="411480"/>
          </a:xfrm>
          <a:prstGeom prst="rect">
            <a:avLst/>
          </a:prstGeom>
          <a:solidFill>
            <a:srgbClr val="0038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bg1"/>
                </a:solidFill>
                <a:latin typeface="Ariel"/>
              </a:rPr>
              <a:t>Cash and Liquidity Management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35B0DE7-0C29-4494-B167-889159579248}"/>
              </a:ext>
            </a:extLst>
          </p:cNvPr>
          <p:cNvSpPr/>
          <p:nvPr/>
        </p:nvSpPr>
        <p:spPr>
          <a:xfrm>
            <a:off x="1831172" y="2494771"/>
            <a:ext cx="617220" cy="4114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Perform Down Payment Reques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FC37258-5651-441B-95B4-14AA51D33A67}"/>
              </a:ext>
            </a:extLst>
          </p:cNvPr>
          <p:cNvSpPr/>
          <p:nvPr/>
        </p:nvSpPr>
        <p:spPr>
          <a:xfrm>
            <a:off x="3281942" y="2480185"/>
            <a:ext cx="617220" cy="393700"/>
          </a:xfrm>
          <a:prstGeom prst="rect">
            <a:avLst/>
          </a:prstGeom>
          <a:solidFill>
            <a:srgbClr val="0038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bg1"/>
                </a:solidFill>
                <a:latin typeface="Ariel"/>
              </a:rPr>
              <a:t>Report and Analyze Business Performan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578F7F0-5C1C-486A-885D-4BAEA5DF8F69}"/>
              </a:ext>
            </a:extLst>
          </p:cNvPr>
          <p:cNvSpPr/>
          <p:nvPr/>
        </p:nvSpPr>
        <p:spPr>
          <a:xfrm>
            <a:off x="3962014" y="2462105"/>
            <a:ext cx="617220" cy="411480"/>
          </a:xfrm>
          <a:prstGeom prst="rect">
            <a:avLst/>
          </a:prstGeom>
          <a:solidFill>
            <a:srgbClr val="0038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bg1"/>
                </a:solidFill>
                <a:latin typeface="Ariel"/>
              </a:rPr>
              <a:t>Perform Customer and Product Profitability Analysi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C46743C-EAF7-46D1-8354-6140A76D95CF}"/>
              </a:ext>
            </a:extLst>
          </p:cNvPr>
          <p:cNvSpPr/>
          <p:nvPr/>
        </p:nvSpPr>
        <p:spPr>
          <a:xfrm>
            <a:off x="2585260" y="2015862"/>
            <a:ext cx="617220" cy="3937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Perform Transaction Processing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8E3157C-FB19-4F53-BB20-3EE56B4976FB}"/>
              </a:ext>
            </a:extLst>
          </p:cNvPr>
          <p:cNvSpPr/>
          <p:nvPr/>
        </p:nvSpPr>
        <p:spPr>
          <a:xfrm>
            <a:off x="1108232" y="1093617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Capture Order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B0965E9-283A-4E2C-86A5-A3DC274FD482}"/>
              </a:ext>
            </a:extLst>
          </p:cNvPr>
          <p:cNvSpPr/>
          <p:nvPr/>
        </p:nvSpPr>
        <p:spPr>
          <a:xfrm>
            <a:off x="1831172" y="1093617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Initiate and Monitor Contrac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05D64F1-6055-492B-A716-CA0F6628382B}"/>
              </a:ext>
            </a:extLst>
          </p:cNvPr>
          <p:cNvSpPr/>
          <p:nvPr/>
        </p:nvSpPr>
        <p:spPr>
          <a:xfrm>
            <a:off x="388829" y="1093617"/>
            <a:ext cx="617220" cy="4114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Calculate Order Pricing Data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A165B97-97EF-4E69-B576-0EB96B1BCD99}"/>
              </a:ext>
            </a:extLst>
          </p:cNvPr>
          <p:cNvSpPr/>
          <p:nvPr/>
        </p:nvSpPr>
        <p:spPr>
          <a:xfrm>
            <a:off x="1108232" y="1556941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intain Customer Data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4C36CCE-E139-4A98-BC96-82C21257279F}"/>
              </a:ext>
            </a:extLst>
          </p:cNvPr>
          <p:cNvSpPr/>
          <p:nvPr/>
        </p:nvSpPr>
        <p:spPr>
          <a:xfrm>
            <a:off x="1831172" y="1556941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nage &amp; Track Orde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FA0514F-0C4E-4E5E-86E9-5A25E35BE023}"/>
              </a:ext>
            </a:extLst>
          </p:cNvPr>
          <p:cNvSpPr/>
          <p:nvPr/>
        </p:nvSpPr>
        <p:spPr>
          <a:xfrm>
            <a:off x="388829" y="1556941"/>
            <a:ext cx="617220" cy="4114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Initiate, Manage and Close Partner Sale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2B30657-80CD-462A-ABFD-5B392C625B22}"/>
              </a:ext>
            </a:extLst>
          </p:cNvPr>
          <p:cNvSpPr/>
          <p:nvPr/>
        </p:nvSpPr>
        <p:spPr>
          <a:xfrm>
            <a:off x="1108232" y="2028701"/>
            <a:ext cx="617220" cy="4114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nage Contract Chang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494DC96-34F3-4232-9618-D2C57018F90B}"/>
              </a:ext>
            </a:extLst>
          </p:cNvPr>
          <p:cNvSpPr/>
          <p:nvPr/>
        </p:nvSpPr>
        <p:spPr>
          <a:xfrm>
            <a:off x="1831172" y="2028701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nage Quotation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9378CFF-5F61-4B4A-9E4F-0FCAAD89241B}"/>
              </a:ext>
            </a:extLst>
          </p:cNvPr>
          <p:cNvSpPr/>
          <p:nvPr/>
        </p:nvSpPr>
        <p:spPr>
          <a:xfrm>
            <a:off x="1108232" y="2482043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Return Order Managemen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09DC239-6CFE-4BAA-A9D1-4FDC78CF44B1}"/>
              </a:ext>
            </a:extLst>
          </p:cNvPr>
          <p:cNvSpPr/>
          <p:nvPr/>
        </p:nvSpPr>
        <p:spPr>
          <a:xfrm>
            <a:off x="388829" y="2482043"/>
            <a:ext cx="617220" cy="4114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Provide Customer Reporting and Audit Suppor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5BC35C-762F-47CE-8B03-0F7F464BF146}"/>
              </a:ext>
            </a:extLst>
          </p:cNvPr>
          <p:cNvSpPr/>
          <p:nvPr/>
        </p:nvSpPr>
        <p:spPr>
          <a:xfrm>
            <a:off x="6876995" y="1096330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intain Product Related Data</a:t>
            </a:r>
          </a:p>
          <a:p>
            <a:pPr algn="ctr" defTabSz="457166">
              <a:defRPr/>
            </a:pPr>
            <a:endParaRPr lang="en-US" sz="525">
              <a:solidFill>
                <a:schemeClr val="tx1"/>
              </a:solidFill>
              <a:latin typeface="Ariel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6E505E0-F806-4084-BAA6-0A28812F30BA}"/>
              </a:ext>
            </a:extLst>
          </p:cNvPr>
          <p:cNvSpPr/>
          <p:nvPr/>
        </p:nvSpPr>
        <p:spPr>
          <a:xfrm>
            <a:off x="5436815" y="1091173"/>
            <a:ext cx="617220" cy="4114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bg1"/>
                </a:solidFill>
                <a:latin typeface="Ariel"/>
              </a:rPr>
              <a:t>Manage Vendor Master Data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92C3C9B-FD69-448C-9F13-22197B40A09B}"/>
              </a:ext>
            </a:extLst>
          </p:cNvPr>
          <p:cNvSpPr/>
          <p:nvPr/>
        </p:nvSpPr>
        <p:spPr>
          <a:xfrm>
            <a:off x="6148090" y="1091173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Purchase Materials and Servic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04F3109-7B97-4D4F-A8E9-A3BF529F5ECB}"/>
              </a:ext>
            </a:extLst>
          </p:cNvPr>
          <p:cNvSpPr/>
          <p:nvPr/>
        </p:nvSpPr>
        <p:spPr>
          <a:xfrm>
            <a:off x="4713721" y="1091173"/>
            <a:ext cx="617220" cy="4114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bg1"/>
                </a:solidFill>
                <a:latin typeface="Ariel"/>
              </a:rPr>
              <a:t>Create and Maintain Purchasing Master Data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864A66F-8C65-4E45-B404-CFAD1031F9A8}"/>
              </a:ext>
            </a:extLst>
          </p:cNvPr>
          <p:cNvSpPr/>
          <p:nvPr/>
        </p:nvSpPr>
        <p:spPr>
          <a:xfrm>
            <a:off x="4713721" y="1554497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Return to Vendor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A25E688-7974-42BC-AC78-B3C9773515EB}"/>
              </a:ext>
            </a:extLst>
          </p:cNvPr>
          <p:cNvSpPr/>
          <p:nvPr/>
        </p:nvSpPr>
        <p:spPr>
          <a:xfrm>
            <a:off x="390420" y="4255806"/>
            <a:ext cx="410360" cy="1547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endParaRPr lang="en-US" sz="500">
              <a:solidFill>
                <a:schemeClr val="tx1"/>
              </a:solidFill>
              <a:latin typeface="Arie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0E735C0-32BA-4912-9BCC-3401FFE0BAB0}"/>
              </a:ext>
            </a:extLst>
          </p:cNvPr>
          <p:cNvSpPr txBox="1"/>
          <p:nvPr/>
        </p:nvSpPr>
        <p:spPr>
          <a:xfrm>
            <a:off x="818371" y="4072983"/>
            <a:ext cx="12688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3">
              <a:defRPr/>
            </a:pPr>
            <a:r>
              <a:rPr lang="en-US" sz="700">
                <a:solidFill>
                  <a:srgbClr val="000000"/>
                </a:solidFill>
                <a:latin typeface="Ariel"/>
              </a:rPr>
              <a:t>Strategic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8135A20-5ED5-49B9-AB5E-FAD3A5762524}"/>
              </a:ext>
            </a:extLst>
          </p:cNvPr>
          <p:cNvSpPr/>
          <p:nvPr/>
        </p:nvSpPr>
        <p:spPr>
          <a:xfrm>
            <a:off x="1503374" y="4085809"/>
            <a:ext cx="410976" cy="16591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endParaRPr lang="en-US" sz="500">
              <a:solidFill>
                <a:schemeClr val="tx1"/>
              </a:solidFill>
              <a:latin typeface="Arie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E031E93-EEDF-49EB-A812-BA964DA98A83}"/>
              </a:ext>
            </a:extLst>
          </p:cNvPr>
          <p:cNvSpPr/>
          <p:nvPr/>
        </p:nvSpPr>
        <p:spPr>
          <a:xfrm>
            <a:off x="389802" y="4068263"/>
            <a:ext cx="410976" cy="1659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endParaRPr lang="en-US" sz="500">
              <a:solidFill>
                <a:srgbClr val="FFFFFF"/>
              </a:solidFill>
              <a:latin typeface="Arie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3FDDB37-6BAC-48FD-B032-B38CA86AF4D9}"/>
              </a:ext>
            </a:extLst>
          </p:cNvPr>
          <p:cNvSpPr/>
          <p:nvPr/>
        </p:nvSpPr>
        <p:spPr>
          <a:xfrm>
            <a:off x="1503374" y="4271025"/>
            <a:ext cx="410976" cy="165918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endParaRPr lang="en-US" sz="500">
              <a:solidFill>
                <a:srgbClr val="2C3F88"/>
              </a:solidFill>
              <a:latin typeface="Ariel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6E28A95-C5B3-469B-9486-1F8953E8D728}"/>
              </a:ext>
            </a:extLst>
          </p:cNvPr>
          <p:cNvSpPr txBox="1"/>
          <p:nvPr/>
        </p:nvSpPr>
        <p:spPr>
          <a:xfrm>
            <a:off x="797872" y="4248870"/>
            <a:ext cx="154154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3">
              <a:defRPr/>
            </a:pPr>
            <a:r>
              <a:rPr lang="en-US" sz="700">
                <a:solidFill>
                  <a:srgbClr val="000000"/>
                </a:solidFill>
                <a:latin typeface="Ariel"/>
              </a:rPr>
              <a:t>Foundational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17402B8-4364-4E5D-AAA4-51536962CF2B}"/>
              </a:ext>
            </a:extLst>
          </p:cNvPr>
          <p:cNvSpPr txBox="1"/>
          <p:nvPr/>
        </p:nvSpPr>
        <p:spPr>
          <a:xfrm>
            <a:off x="1911442" y="4273038"/>
            <a:ext cx="149541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3">
              <a:defRPr/>
            </a:pPr>
            <a:r>
              <a:rPr lang="en-US" sz="700">
                <a:solidFill>
                  <a:srgbClr val="000000"/>
                </a:solidFill>
                <a:latin typeface="Ariel"/>
              </a:rPr>
              <a:t>Out of Scope for R1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8B98979-9DF0-436F-8097-D4416679149E}"/>
              </a:ext>
            </a:extLst>
          </p:cNvPr>
          <p:cNvSpPr txBox="1"/>
          <p:nvPr/>
        </p:nvSpPr>
        <p:spPr>
          <a:xfrm>
            <a:off x="1931942" y="4071820"/>
            <a:ext cx="90181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3">
              <a:defRPr/>
            </a:pPr>
            <a:r>
              <a:rPr lang="en-US" sz="700">
                <a:solidFill>
                  <a:srgbClr val="000000"/>
                </a:solidFill>
                <a:latin typeface="Ariel"/>
              </a:rPr>
              <a:t>Cor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9279FF6-26E6-45C5-B5B6-F88B011E75A1}"/>
              </a:ext>
            </a:extLst>
          </p:cNvPr>
          <p:cNvSpPr/>
          <p:nvPr/>
        </p:nvSpPr>
        <p:spPr>
          <a:xfrm>
            <a:off x="3268088" y="1554284"/>
            <a:ext cx="617220" cy="4114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tx1"/>
                </a:solidFill>
                <a:latin typeface="Ariel"/>
              </a:rPr>
              <a:t>Manage Customer Credit Exposur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8C5D0B2-AED6-4DD0-AD5E-A262364B4036}"/>
              </a:ext>
            </a:extLst>
          </p:cNvPr>
          <p:cNvSpPr/>
          <p:nvPr/>
        </p:nvSpPr>
        <p:spPr>
          <a:xfrm>
            <a:off x="388829" y="2028701"/>
            <a:ext cx="617220" cy="41148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>
              <a:defRPr/>
            </a:pPr>
            <a:r>
              <a:rPr lang="en-US" sz="525">
                <a:solidFill>
                  <a:schemeClr val="bg1"/>
                </a:solidFill>
                <a:latin typeface="Ariel"/>
              </a:rPr>
              <a:t>Manage and Track Order Deliveri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B606F15-DFB3-4158-8B40-614605E2227C}"/>
              </a:ext>
            </a:extLst>
          </p:cNvPr>
          <p:cNvGrpSpPr/>
          <p:nvPr/>
        </p:nvGrpSpPr>
        <p:grpSpPr>
          <a:xfrm>
            <a:off x="4524269" y="2516060"/>
            <a:ext cx="4410127" cy="1840238"/>
            <a:chOff x="4338624" y="2991247"/>
            <a:chExt cx="7093666" cy="3265812"/>
          </a:xfrm>
        </p:grpSpPr>
        <p:sp>
          <p:nvSpPr>
            <p:cNvPr id="55" name="TxtBox:24/210">
              <a:extLst>
                <a:ext uri="{FF2B5EF4-FFF2-40B4-BE49-F238E27FC236}">
                  <a16:creationId xmlns:a16="http://schemas.microsoft.com/office/drawing/2014/main" id="{139BA14E-B31E-4CDB-82B2-061DE543EA1E}"/>
                </a:ext>
              </a:extLst>
            </p:cNvPr>
            <p:cNvSpPr/>
            <p:nvPr/>
          </p:nvSpPr>
          <p:spPr bwMode="gray">
            <a:xfrm>
              <a:off x="7107921" y="2991247"/>
              <a:ext cx="2379251" cy="437753"/>
            </a:xfrm>
            <a:prstGeom prst="roundRect">
              <a:avLst/>
            </a:prstGeom>
            <a:noFill/>
            <a:ln w="12700" cap="rnd" algn="ctr">
              <a:noFill/>
              <a:miter lim="800000"/>
              <a:headEnd/>
              <a:tailEnd/>
            </a:ln>
          </p:spPr>
          <p:txBody>
            <a:bodyPr wrap="square" lIns="51435" tIns="0" rIns="51435" bIns="0" rtlCol="0" anchor="ctr" anchorCtr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66" eaLnBrk="0" hangingPunct="0">
                <a:lnSpc>
                  <a:spcPct val="106000"/>
                </a:lnSpc>
                <a:defRPr/>
              </a:pPr>
              <a:r>
                <a:rPr lang="en-US" sz="825" b="1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Capability Segmentation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A6662266-29D5-40B2-A4BE-921FFF27A2FD}"/>
                </a:ext>
              </a:extLst>
            </p:cNvPr>
            <p:cNvGrpSpPr/>
            <p:nvPr/>
          </p:nvGrpSpPr>
          <p:grpSpPr>
            <a:xfrm>
              <a:off x="6108303" y="3540248"/>
              <a:ext cx="1932689" cy="2237659"/>
              <a:chOff x="2007664" y="987552"/>
              <a:chExt cx="2537612" cy="2187596"/>
            </a:xfrm>
          </p:grpSpPr>
          <p:sp>
            <p:nvSpPr>
              <p:cNvPr id="57" name="Isosceles Triangle 56">
                <a:extLst>
                  <a:ext uri="{FF2B5EF4-FFF2-40B4-BE49-F238E27FC236}">
                    <a16:creationId xmlns:a16="http://schemas.microsoft.com/office/drawing/2014/main" id="{5A490F3D-5D61-4128-8C76-90FDCFB4B0DD}"/>
                  </a:ext>
                </a:extLst>
              </p:cNvPr>
              <p:cNvSpPr/>
              <p:nvPr/>
            </p:nvSpPr>
            <p:spPr>
              <a:xfrm>
                <a:off x="2007664" y="987552"/>
                <a:ext cx="2537612" cy="2187596"/>
              </a:xfrm>
              <a:prstGeom prst="triangle">
                <a:avLst/>
              </a:prstGeom>
              <a:solidFill>
                <a:schemeClr val="accent2"/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66">
                  <a:defRPr/>
                </a:pPr>
                <a:endParaRPr lang="en-US" sz="1050" kern="0">
                  <a:solidFill>
                    <a:schemeClr val="bg1"/>
                  </a:solidFill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8" name="Isosceles Triangle 57">
                <a:extLst>
                  <a:ext uri="{FF2B5EF4-FFF2-40B4-BE49-F238E27FC236}">
                    <a16:creationId xmlns:a16="http://schemas.microsoft.com/office/drawing/2014/main" id="{57C1196E-D2B5-48D0-9E29-ED0D53B8B8D2}"/>
                  </a:ext>
                </a:extLst>
              </p:cNvPr>
              <p:cNvSpPr/>
              <p:nvPr/>
            </p:nvSpPr>
            <p:spPr>
              <a:xfrm>
                <a:off x="2393581" y="987552"/>
                <a:ext cx="1765779" cy="1522223"/>
              </a:xfrm>
              <a:prstGeom prst="triangl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66">
                  <a:defRPr/>
                </a:pPr>
                <a:endParaRPr lang="en-US" sz="1050" kern="0">
                  <a:solidFill>
                    <a:schemeClr val="bg1"/>
                  </a:solidFill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59" name="Isosceles Triangle 58">
                <a:extLst>
                  <a:ext uri="{FF2B5EF4-FFF2-40B4-BE49-F238E27FC236}">
                    <a16:creationId xmlns:a16="http://schemas.microsoft.com/office/drawing/2014/main" id="{F68DF18F-E961-4E8A-BBAA-B308ABF811B9}"/>
                  </a:ext>
                </a:extLst>
              </p:cNvPr>
              <p:cNvSpPr/>
              <p:nvPr/>
            </p:nvSpPr>
            <p:spPr>
              <a:xfrm>
                <a:off x="2787423" y="987552"/>
                <a:ext cx="978095" cy="843185"/>
              </a:xfrm>
              <a:prstGeom prst="triangl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66">
                  <a:defRPr/>
                </a:pPr>
                <a:endParaRPr lang="en-US" sz="1050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60" name="TextBox 160">
              <a:extLst>
                <a:ext uri="{FF2B5EF4-FFF2-40B4-BE49-F238E27FC236}">
                  <a16:creationId xmlns:a16="http://schemas.microsoft.com/office/drawing/2014/main" id="{5CB84F65-269D-4AC0-983D-32A292069237}"/>
                </a:ext>
              </a:extLst>
            </p:cNvPr>
            <p:cNvSpPr txBox="1"/>
            <p:nvPr/>
          </p:nvSpPr>
          <p:spPr>
            <a:xfrm>
              <a:off x="4579398" y="3833391"/>
              <a:ext cx="2233298" cy="532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66">
                <a:defRPr/>
              </a:pPr>
              <a:r>
                <a:rPr lang="en-US" sz="675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Critical to Your Business - Competitive Advantage</a:t>
              </a:r>
            </a:p>
          </p:txBody>
        </p:sp>
        <p:sp>
          <p:nvSpPr>
            <p:cNvPr id="61" name="TextBox 161">
              <a:extLst>
                <a:ext uri="{FF2B5EF4-FFF2-40B4-BE49-F238E27FC236}">
                  <a16:creationId xmlns:a16="http://schemas.microsoft.com/office/drawing/2014/main" id="{9F51E0BA-DF53-4CC2-8DCF-33BB178AF04A}"/>
                </a:ext>
              </a:extLst>
            </p:cNvPr>
            <p:cNvSpPr txBox="1"/>
            <p:nvPr/>
          </p:nvSpPr>
          <p:spPr>
            <a:xfrm>
              <a:off x="4475579" y="4516674"/>
              <a:ext cx="2050808" cy="532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66">
                <a:defRPr/>
              </a:pPr>
              <a:r>
                <a:rPr lang="en-US" sz="675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Specific to ER&amp;I- Differentiate for Value</a:t>
              </a:r>
            </a:p>
          </p:txBody>
        </p:sp>
        <p:sp>
          <p:nvSpPr>
            <p:cNvPr id="62" name="TextBox 162">
              <a:extLst>
                <a:ext uri="{FF2B5EF4-FFF2-40B4-BE49-F238E27FC236}">
                  <a16:creationId xmlns:a16="http://schemas.microsoft.com/office/drawing/2014/main" id="{9B115A8F-4ACD-4B14-B097-1BADE7D7D596}"/>
                </a:ext>
              </a:extLst>
            </p:cNvPr>
            <p:cNvSpPr txBox="1"/>
            <p:nvPr/>
          </p:nvSpPr>
          <p:spPr>
            <a:xfrm>
              <a:off x="4338624" y="5181631"/>
              <a:ext cx="1883941" cy="532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66">
                <a:defRPr/>
              </a:pPr>
              <a:r>
                <a:rPr lang="en-US" sz="675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Common Across Industries - No Differentiation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F32CEEF-EBA6-418B-BF1A-5F9C70E52A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8755" y="4197065"/>
              <a:ext cx="971782" cy="143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93481">
                <a:buClr>
                  <a:srgbClr val="002776"/>
                </a:buClr>
                <a:defRPr/>
              </a:pPr>
              <a:r>
                <a:rPr lang="en-GB" sz="525" b="1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Strategic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9BDDBDE7-EC90-4B80-843C-51EDD334A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6430" y="4681494"/>
              <a:ext cx="816432" cy="143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93481">
                <a:buClr>
                  <a:srgbClr val="002776"/>
                </a:buClr>
                <a:defRPr/>
              </a:pPr>
              <a:r>
                <a:rPr lang="en-GB" sz="525" b="1" kern="0">
                  <a:solidFill>
                    <a:schemeClr val="bg1"/>
                  </a:solidFill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Core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6DFF153-7953-4513-8D5E-62ABA6DE9D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8935" y="5376485"/>
              <a:ext cx="1391422" cy="143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93481">
                <a:buClr>
                  <a:srgbClr val="002776"/>
                </a:buClr>
                <a:defRPr/>
              </a:pPr>
              <a:r>
                <a:rPr lang="en-GB" sz="525" b="1" kern="0">
                  <a:solidFill>
                    <a:schemeClr val="bg1"/>
                  </a:solidFill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Foundational</a:t>
              </a: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D9DB0A7A-DD85-4A15-80C4-2CDC9228D3C0}"/>
                </a:ext>
              </a:extLst>
            </p:cNvPr>
            <p:cNvGrpSpPr/>
            <p:nvPr/>
          </p:nvGrpSpPr>
          <p:grpSpPr>
            <a:xfrm rot="10800000">
              <a:off x="9253142" y="3533841"/>
              <a:ext cx="2102873" cy="2237659"/>
              <a:chOff x="2007664" y="987552"/>
              <a:chExt cx="2578261" cy="2187596"/>
            </a:xfrm>
          </p:grpSpPr>
          <p:sp>
            <p:nvSpPr>
              <p:cNvPr id="67" name="Isosceles Triangle 66">
                <a:extLst>
                  <a:ext uri="{FF2B5EF4-FFF2-40B4-BE49-F238E27FC236}">
                    <a16:creationId xmlns:a16="http://schemas.microsoft.com/office/drawing/2014/main" id="{C18D8E2E-4A44-4A07-A9E9-01D89E477AA3}"/>
                  </a:ext>
                </a:extLst>
              </p:cNvPr>
              <p:cNvSpPr/>
              <p:nvPr/>
            </p:nvSpPr>
            <p:spPr>
              <a:xfrm>
                <a:off x="2007664" y="987552"/>
                <a:ext cx="2578261" cy="2187596"/>
              </a:xfrm>
              <a:prstGeom prst="triangl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66">
                  <a:defRPr/>
                </a:pPr>
                <a:endParaRPr lang="en-US" sz="1050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8" name="Isosceles Triangle 67">
                <a:extLst>
                  <a:ext uri="{FF2B5EF4-FFF2-40B4-BE49-F238E27FC236}">
                    <a16:creationId xmlns:a16="http://schemas.microsoft.com/office/drawing/2014/main" id="{794AF5A9-78C1-4EE3-B822-9EC268EF5744}"/>
                  </a:ext>
                </a:extLst>
              </p:cNvPr>
              <p:cNvSpPr/>
              <p:nvPr/>
            </p:nvSpPr>
            <p:spPr>
              <a:xfrm>
                <a:off x="2498608" y="996915"/>
                <a:ext cx="1579999" cy="1338146"/>
              </a:xfrm>
              <a:prstGeom prst="triangl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66">
                  <a:defRPr/>
                </a:pPr>
                <a:endParaRPr lang="en-US" sz="1050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69" name="Isosceles Triangle 68">
                <a:extLst>
                  <a:ext uri="{FF2B5EF4-FFF2-40B4-BE49-F238E27FC236}">
                    <a16:creationId xmlns:a16="http://schemas.microsoft.com/office/drawing/2014/main" id="{F513E24C-E1CE-4970-9336-6CEC5F8A3846}"/>
                  </a:ext>
                </a:extLst>
              </p:cNvPr>
              <p:cNvSpPr/>
              <p:nvPr/>
            </p:nvSpPr>
            <p:spPr>
              <a:xfrm>
                <a:off x="2883699" y="987555"/>
                <a:ext cx="799065" cy="659109"/>
              </a:xfrm>
              <a:prstGeom prst="triangle">
                <a:avLst/>
              </a:prstGeom>
              <a:solidFill>
                <a:schemeClr val="accent2"/>
              </a:soli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685766">
                  <a:defRPr/>
                </a:pPr>
                <a:endParaRPr lang="en-US" sz="1050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70" name="TxtBox:24/210">
              <a:extLst>
                <a:ext uri="{FF2B5EF4-FFF2-40B4-BE49-F238E27FC236}">
                  <a16:creationId xmlns:a16="http://schemas.microsoft.com/office/drawing/2014/main" id="{7805EE0D-94A3-48B0-883E-C7E15B3FACAC}"/>
                </a:ext>
              </a:extLst>
            </p:cNvPr>
            <p:cNvSpPr/>
            <p:nvPr/>
          </p:nvSpPr>
          <p:spPr bwMode="gray">
            <a:xfrm>
              <a:off x="5951351" y="5819306"/>
              <a:ext cx="2233299" cy="437753"/>
            </a:xfrm>
            <a:prstGeom prst="roundRect">
              <a:avLst/>
            </a:prstGeom>
            <a:noFill/>
            <a:ln w="12700" cap="rnd" algn="ctr">
              <a:noFill/>
              <a:miter lim="800000"/>
              <a:headEnd/>
              <a:tailEnd/>
            </a:ln>
          </p:spPr>
          <p:txBody>
            <a:bodyPr wrap="square" lIns="51435" tIns="0" rIns="51435" bIns="0" rtlCol="0" anchor="ctr" anchorCtr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66" eaLnBrk="0" hangingPunct="0">
                <a:lnSpc>
                  <a:spcPct val="106000"/>
                </a:lnSpc>
                <a:defRPr/>
              </a:pPr>
              <a:r>
                <a:rPr lang="en-US" sz="675" b="1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Process</a:t>
              </a:r>
            </a:p>
          </p:txBody>
        </p:sp>
        <p:sp>
          <p:nvSpPr>
            <p:cNvPr id="71" name="TxtBox:24/210">
              <a:extLst>
                <a:ext uri="{FF2B5EF4-FFF2-40B4-BE49-F238E27FC236}">
                  <a16:creationId xmlns:a16="http://schemas.microsoft.com/office/drawing/2014/main" id="{89F21439-8953-4DD1-A82F-3D510D09BE4B}"/>
                </a:ext>
              </a:extLst>
            </p:cNvPr>
            <p:cNvSpPr/>
            <p:nvPr/>
          </p:nvSpPr>
          <p:spPr bwMode="gray">
            <a:xfrm>
              <a:off x="9198991" y="5819306"/>
              <a:ext cx="2233299" cy="437753"/>
            </a:xfrm>
            <a:prstGeom prst="roundRect">
              <a:avLst/>
            </a:prstGeom>
            <a:noFill/>
            <a:ln w="12700" cap="rnd" algn="ctr">
              <a:noFill/>
              <a:miter lim="800000"/>
              <a:headEnd/>
              <a:tailEnd/>
            </a:ln>
          </p:spPr>
          <p:txBody>
            <a:bodyPr wrap="square" lIns="51435" tIns="0" rIns="51435" bIns="0" rtlCol="0" anchor="ctr" anchorCtr="0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66" eaLnBrk="0" hangingPunct="0">
                <a:lnSpc>
                  <a:spcPct val="106000"/>
                </a:lnSpc>
                <a:defRPr/>
              </a:pPr>
              <a:r>
                <a:rPr lang="en-US" sz="675" b="1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Effort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05A9453F-A9BC-49FA-AAEE-AD9AAAD08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65024" y="3739209"/>
              <a:ext cx="971782" cy="43013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93481">
                <a:buClr>
                  <a:srgbClr val="002776"/>
                </a:buClr>
                <a:defRPr/>
              </a:pPr>
              <a:r>
                <a:rPr lang="en-GB" sz="525" b="1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Business Transformation Driven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A638F47-EC05-4E44-BC46-72A83FD80E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1999" y="5134631"/>
              <a:ext cx="447271" cy="2867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93481">
                <a:buClr>
                  <a:srgbClr val="002776"/>
                </a:buClr>
                <a:defRPr/>
              </a:pPr>
              <a:r>
                <a:rPr lang="en-GB" sz="525" b="1" kern="0">
                  <a:solidFill>
                    <a:schemeClr val="bg1"/>
                  </a:solidFill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Adopt &amp; Go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2E507F5-89B9-42F5-9A4A-A282375026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9748" y="4560155"/>
              <a:ext cx="971782" cy="2867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93481">
                <a:buClr>
                  <a:srgbClr val="002776"/>
                </a:buClr>
                <a:defRPr/>
              </a:pPr>
              <a:r>
                <a:rPr lang="en-GB" sz="525" b="1" kern="0">
                  <a:solidFill>
                    <a:schemeClr val="bg1"/>
                  </a:solidFill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‘Why-Not’</a:t>
              </a:r>
            </a:p>
            <a:p>
              <a:pPr algn="ctr" defTabSz="493481">
                <a:buClr>
                  <a:srgbClr val="002776"/>
                </a:buClr>
                <a:defRPr/>
              </a:pPr>
              <a:r>
                <a:rPr lang="en-GB" sz="525" b="1" kern="0">
                  <a:solidFill>
                    <a:schemeClr val="bg1"/>
                  </a:solidFill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Driven</a:t>
              </a:r>
            </a:p>
          </p:txBody>
        </p: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7D1361E1-695B-4244-988A-FB6582492CF6}"/>
                </a:ext>
              </a:extLst>
            </p:cNvPr>
            <p:cNvCxnSpPr>
              <a:cxnSpLocks/>
            </p:cNvCxnSpPr>
            <p:nvPr/>
          </p:nvCxnSpPr>
          <p:spPr>
            <a:xfrm>
              <a:off x="7372354" y="3853678"/>
              <a:ext cx="1838696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76" name="TextBox 54">
              <a:extLst>
                <a:ext uri="{FF2B5EF4-FFF2-40B4-BE49-F238E27FC236}">
                  <a16:creationId xmlns:a16="http://schemas.microsoft.com/office/drawing/2014/main" id="{3B6839C4-8E61-4118-8314-FB4A1D21352C}"/>
                </a:ext>
              </a:extLst>
            </p:cNvPr>
            <p:cNvSpPr txBox="1"/>
            <p:nvPr/>
          </p:nvSpPr>
          <p:spPr>
            <a:xfrm>
              <a:off x="7743893" y="3660890"/>
              <a:ext cx="1105867" cy="532546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66">
                <a:defRPr/>
              </a:pPr>
              <a:r>
                <a:rPr lang="en-US" sz="675" b="1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Customize</a:t>
              </a:r>
              <a:r>
                <a:rPr lang="en-US" sz="675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 as Required</a:t>
              </a:r>
            </a:p>
          </p:txBody>
        </p:sp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647AF51B-672A-4850-BAF1-7A7B1D17665B}"/>
                </a:ext>
              </a:extLst>
            </p:cNvPr>
            <p:cNvCxnSpPr>
              <a:cxnSpLocks/>
            </p:cNvCxnSpPr>
            <p:nvPr/>
          </p:nvCxnSpPr>
          <p:spPr>
            <a:xfrm>
              <a:off x="7909902" y="4683932"/>
              <a:ext cx="1577270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78" name="TextBox 53">
              <a:extLst>
                <a:ext uri="{FF2B5EF4-FFF2-40B4-BE49-F238E27FC236}">
                  <a16:creationId xmlns:a16="http://schemas.microsoft.com/office/drawing/2014/main" id="{6B2F92B8-B8FA-4319-A16C-CC07264C5762}"/>
                </a:ext>
              </a:extLst>
            </p:cNvPr>
            <p:cNvSpPr txBox="1"/>
            <p:nvPr/>
          </p:nvSpPr>
          <p:spPr>
            <a:xfrm>
              <a:off x="8200358" y="4467217"/>
              <a:ext cx="1105867" cy="716890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66">
                <a:defRPr/>
              </a:pPr>
              <a:r>
                <a:rPr lang="en-US" sz="675" b="1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Adopt</a:t>
              </a:r>
              <a:r>
                <a:rPr lang="en-US" sz="675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 Leading Practices</a:t>
              </a:r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22E9E859-E97A-4658-9D0E-FF63093B0C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84650" y="5407033"/>
              <a:ext cx="1680375" cy="8438"/>
            </a:xfrm>
            <a:prstGeom prst="straightConnector1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80" name="TextBox 58">
              <a:extLst>
                <a:ext uri="{FF2B5EF4-FFF2-40B4-BE49-F238E27FC236}">
                  <a16:creationId xmlns:a16="http://schemas.microsoft.com/office/drawing/2014/main" id="{AFD76A2F-31D1-4F9E-B9CE-FDA6FDB5C855}"/>
                </a:ext>
              </a:extLst>
            </p:cNvPr>
            <p:cNvSpPr txBox="1"/>
            <p:nvPr/>
          </p:nvSpPr>
          <p:spPr>
            <a:xfrm>
              <a:off x="8450622" y="5219261"/>
              <a:ext cx="1223091" cy="532546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66">
                <a:defRPr/>
              </a:pPr>
              <a:r>
                <a:rPr lang="en-US" sz="675" b="1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Adopt</a:t>
              </a:r>
              <a:r>
                <a:rPr lang="en-US" sz="675" kern="0">
                  <a:latin typeface="Ariel"/>
                  <a:ea typeface="Open Sans" panose="020B0606030504020204" pitchFamily="34" charset="0"/>
                  <a:cs typeface="Open Sans" panose="020B0606030504020204" pitchFamily="34" charset="0"/>
                </a:rPr>
                <a:t> ‘Out-of-Box’ Pract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670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42B2A9-2282-CFE7-5F1A-6665F7886F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A62CB-A42E-470E-A301-EA6420987B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D438C-DB3B-99C4-8946-651A2EB6B2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EAST - Aerospace Program Over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5662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C23A1582-2F5F-4C5B-B534-7921489DF8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C23A1582-2F5F-4C5B-B534-7921489DF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84A965-47CF-42C4-AC82-84F43FEA9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69" y="105062"/>
            <a:ext cx="8229600" cy="627454"/>
          </a:xfrm>
        </p:spPr>
        <p:txBody>
          <a:bodyPr vert="horz">
            <a:noAutofit/>
          </a:bodyPr>
          <a:lstStyle/>
          <a:p>
            <a:r>
              <a:rPr lang="en-US" sz="2000"/>
              <a:t>Aerospace has an eye towards continued future growth but is hampered by its foundational technolo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96044B-532F-4850-8AD2-32307EEE7A79}"/>
              </a:ext>
            </a:extLst>
          </p:cNvPr>
          <p:cNvSpPr/>
          <p:nvPr/>
        </p:nvSpPr>
        <p:spPr>
          <a:xfrm>
            <a:off x="4052317" y="3218937"/>
            <a:ext cx="4992254" cy="15471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/>
                </a:solidFill>
                <a:latin typeface="Arial" panose="020B0604020202020204"/>
              </a:rPr>
              <a:t>We are unable to meet government compliance mandates, we have cyber security risk and have attained maximum value from aged (20+ year old) systems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/>
                </a:solidFill>
                <a:latin typeface="Arial" panose="020B0604020202020204"/>
              </a:rPr>
              <a:t>Rapid acquisition integration is essential to synergy realization (GFSS, etc.) and require a common solution or incur interface &amp; support costs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/>
                </a:solidFill>
                <a:latin typeface="Arial" panose="020B0604020202020204"/>
              </a:rPr>
              <a:t>Our aged systems inhibit talent acquisition in today’s marketplace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/>
                </a:solidFill>
                <a:latin typeface="Arial" panose="020B0604020202020204"/>
              </a:rPr>
              <a:t>Lack of global visibility prevents operational growth: centralized procurement, customer service, finance, etc. 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9A117D00-6A8B-4B83-8D89-9145ED81ABC9}"/>
              </a:ext>
            </a:extLst>
          </p:cNvPr>
          <p:cNvGraphicFramePr>
            <a:graphicFrameLocks noGrp="1"/>
          </p:cNvGraphicFramePr>
          <p:nvPr/>
        </p:nvGraphicFramePr>
        <p:xfrm>
          <a:off x="4074592" y="1433389"/>
          <a:ext cx="4991843" cy="1620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0410">
                  <a:extLst>
                    <a:ext uri="{9D8B030D-6E8A-4147-A177-3AD203B41FA5}">
                      <a16:colId xmlns:a16="http://schemas.microsoft.com/office/drawing/2014/main" val="2259462839"/>
                    </a:ext>
                  </a:extLst>
                </a:gridCol>
                <a:gridCol w="956103">
                  <a:extLst>
                    <a:ext uri="{9D8B030D-6E8A-4147-A177-3AD203B41FA5}">
                      <a16:colId xmlns:a16="http://schemas.microsoft.com/office/drawing/2014/main" val="1774608534"/>
                    </a:ext>
                  </a:extLst>
                </a:gridCol>
                <a:gridCol w="952901">
                  <a:extLst>
                    <a:ext uri="{9D8B030D-6E8A-4147-A177-3AD203B41FA5}">
                      <a16:colId xmlns:a16="http://schemas.microsoft.com/office/drawing/2014/main" val="3863315264"/>
                    </a:ext>
                  </a:extLst>
                </a:gridCol>
                <a:gridCol w="885524">
                  <a:extLst>
                    <a:ext uri="{9D8B030D-6E8A-4147-A177-3AD203B41FA5}">
                      <a16:colId xmlns:a16="http://schemas.microsoft.com/office/drawing/2014/main" val="2856567228"/>
                    </a:ext>
                  </a:extLst>
                </a:gridCol>
                <a:gridCol w="1106905">
                  <a:extLst>
                    <a:ext uri="{9D8B030D-6E8A-4147-A177-3AD203B41FA5}">
                      <a16:colId xmlns:a16="http://schemas.microsoft.com/office/drawing/2014/main" val="3354307964"/>
                    </a:ext>
                  </a:extLst>
                </a:gridCol>
              </a:tblGrid>
              <a:tr h="411440"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QAD MFG/Pro</a:t>
                      </a:r>
                    </a:p>
                    <a:p>
                      <a:pPr algn="ctr"/>
                      <a:r>
                        <a:rPr lang="en-US" sz="600" b="0" i="1">
                          <a:solidFill>
                            <a:schemeClr val="bg1"/>
                          </a:solidFill>
                        </a:rPr>
                        <a:t>Legacy AERO + ITD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Oracle 11i</a:t>
                      </a:r>
                    </a:p>
                    <a:p>
                      <a:pPr algn="ctr"/>
                      <a:r>
                        <a:rPr lang="en-US" sz="600" b="0" i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venport (MSD)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Oracle R12</a:t>
                      </a:r>
                    </a:p>
                    <a:p>
                      <a:pPr algn="ctr"/>
                      <a:r>
                        <a:rPr lang="en-US" sz="600" b="0" i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rchard Park (MSD)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/>
                        <a:t>Avante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600" b="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mborne (MSD)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SAP ECC</a:t>
                      </a:r>
                      <a:br>
                        <a:rPr lang="en-US" sz="900" b="1">
                          <a:solidFill>
                            <a:schemeClr val="bg1"/>
                          </a:solidFill>
                        </a:rPr>
                      </a:br>
                      <a:r>
                        <a:rPr lang="en-US" sz="600" b="0" i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egacy Cooper/IPC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9852994"/>
                  </a:ext>
                </a:extLst>
              </a:tr>
              <a:tr h="370820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3 Versions</a:t>
                      </a:r>
                    </a:p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34 Sites</a:t>
                      </a:r>
                    </a:p>
                  </a:txBody>
                  <a:tcPr marL="68580" marR="68580" marT="34290" marB="3429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 Version</a:t>
                      </a:r>
                    </a:p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 Site</a:t>
                      </a:r>
                    </a:p>
                  </a:txBody>
                  <a:tcPr marL="68580" marR="68580" marT="34290" marB="3429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 Version</a:t>
                      </a:r>
                    </a:p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 Site</a:t>
                      </a:r>
                    </a:p>
                  </a:txBody>
                  <a:tcPr marL="68580" marR="68580" marT="34290" marB="3429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1 Version</a:t>
                      </a:r>
                    </a:p>
                    <a:p>
                      <a:pPr algn="ctr"/>
                      <a:r>
                        <a:rPr lang="en-US" sz="800"/>
                        <a:t>1 Site</a:t>
                      </a:r>
                    </a:p>
                  </a:txBody>
                  <a:tcPr marL="68580" marR="68580" marT="34290" marB="3429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 Version</a:t>
                      </a:r>
                    </a:p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4 Sites</a:t>
                      </a:r>
                    </a:p>
                  </a:txBody>
                  <a:tcPr marL="68580" marR="68580" marT="34290" marB="3429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899717"/>
                  </a:ext>
                </a:extLst>
              </a:tr>
              <a:tr h="221320">
                <a:tc gridSpan="5">
                  <a:txBody>
                    <a:bodyPr/>
                    <a:lstStyle/>
                    <a:p>
                      <a:pPr algn="ctr"/>
                      <a:r>
                        <a:rPr lang="en-US" sz="1000" b="1" i="0">
                          <a:solidFill>
                            <a:schemeClr val="tx1"/>
                          </a:solidFill>
                        </a:rPr>
                        <a:t>System ability to meet US DoD CMMC Level 2 requirements 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000" i="0">
                          <a:solidFill>
                            <a:schemeClr val="tx1"/>
                          </a:solidFill>
                        </a:rPr>
                        <a:t>CMMC</a:t>
                      </a:r>
                    </a:p>
                  </a:txBody>
                  <a:tcPr marL="68580" marR="68580" marT="34290" marB="3429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i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i="1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532515"/>
                  </a:ext>
                </a:extLst>
              </a:tr>
              <a:tr h="617220"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No</a:t>
                      </a:r>
                    </a:p>
                    <a:p>
                      <a:pPr algn="ctr"/>
                      <a:r>
                        <a:rPr lang="en-US" sz="900" i="1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Cannot </a:t>
                      </a:r>
                    </a:p>
                    <a:p>
                      <a:pPr algn="ctr"/>
                      <a:r>
                        <a:rPr lang="en-US" sz="900" i="1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Upgrade; Needs Replaced</a:t>
                      </a:r>
                      <a:endParaRPr lang="en-US" sz="900" i="1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rgbClr val="FF0000"/>
                          </a:solidFill>
                        </a:rPr>
                        <a:t>No</a:t>
                      </a:r>
                    </a:p>
                    <a:p>
                      <a:pPr algn="ctr"/>
                      <a:r>
                        <a:rPr lang="en-US" sz="900" i="1">
                          <a:solidFill>
                            <a:schemeClr val="tx1"/>
                          </a:solidFill>
                        </a:rPr>
                        <a:t>Needs Replaced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rgbClr val="00B050"/>
                          </a:solidFill>
                        </a:rPr>
                        <a:t>Yes </a:t>
                      </a:r>
                    </a:p>
                    <a:p>
                      <a:pPr algn="ctr"/>
                      <a:endParaRPr lang="en-US" sz="900" b="1">
                        <a:solidFill>
                          <a:srgbClr val="00B050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i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N/A</a:t>
                      </a:r>
                    </a:p>
                    <a:p>
                      <a:pPr algn="ctr"/>
                      <a:r>
                        <a:rPr lang="en-US" sz="900" i="1">
                          <a:solidFill>
                            <a:schemeClr val="tx1"/>
                          </a:solidFill>
                        </a:rPr>
                        <a:t>Needs Replaced</a:t>
                      </a:r>
                    </a:p>
                    <a:p>
                      <a:pPr algn="ctr"/>
                      <a:endParaRPr lang="en-US" sz="900" i="1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rgbClr val="00B050"/>
                          </a:solidFill>
                        </a:rPr>
                        <a:t>Yes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351304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0AB91D96-C0C4-499A-A532-DBB9CFDA918C}"/>
              </a:ext>
            </a:extLst>
          </p:cNvPr>
          <p:cNvGrpSpPr/>
          <p:nvPr/>
        </p:nvGrpSpPr>
        <p:grpSpPr>
          <a:xfrm>
            <a:off x="4082475" y="816072"/>
            <a:ext cx="4931351" cy="290795"/>
            <a:chOff x="346338" y="1568515"/>
            <a:chExt cx="9406356" cy="290795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99967CE-E1B2-4324-AAAF-AED1CBF6BB1C}"/>
                </a:ext>
              </a:extLst>
            </p:cNvPr>
            <p:cNvCxnSpPr>
              <a:cxnSpLocks/>
            </p:cNvCxnSpPr>
            <p:nvPr/>
          </p:nvCxnSpPr>
          <p:spPr>
            <a:xfrm>
              <a:off x="346338" y="1720933"/>
              <a:ext cx="9406356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5E72371-6D88-468C-B84F-2189744A5998}"/>
                </a:ext>
              </a:extLst>
            </p:cNvPr>
            <p:cNvSpPr/>
            <p:nvPr/>
          </p:nvSpPr>
          <p:spPr>
            <a:xfrm>
              <a:off x="2893513" y="1568515"/>
              <a:ext cx="4312005" cy="2907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>
                <a:defRPr/>
              </a:pPr>
              <a:r>
                <a:rPr lang="en-US" sz="1000" b="1">
                  <a:solidFill>
                    <a:srgbClr val="000000"/>
                  </a:solidFill>
                  <a:latin typeface="Arial" panose="020B0604020202020204"/>
                </a:rPr>
                <a:t>Aerospace Revenue by System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0E0398E9-75B7-4DDC-A4C8-DBF5DCAE5F7C}"/>
              </a:ext>
            </a:extLst>
          </p:cNvPr>
          <p:cNvSpPr/>
          <p:nvPr/>
        </p:nvSpPr>
        <p:spPr>
          <a:xfrm>
            <a:off x="4082474" y="1021922"/>
            <a:ext cx="1122939" cy="356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700" b="1">
                <a:solidFill>
                  <a:srgbClr val="000000"/>
                </a:solidFill>
                <a:latin typeface="Arial" panose="020B0604020202020204"/>
              </a:rPr>
              <a:t>75% </a:t>
            </a:r>
            <a:br>
              <a:rPr lang="en-US" sz="700" b="1">
                <a:solidFill>
                  <a:srgbClr val="000000"/>
                </a:solidFill>
                <a:latin typeface="Arial" panose="020B0604020202020204"/>
              </a:rPr>
            </a:br>
            <a:r>
              <a:rPr lang="en-US" sz="700" b="1">
                <a:solidFill>
                  <a:srgbClr val="000000"/>
                </a:solidFill>
                <a:latin typeface="Arial" panose="020B0604020202020204"/>
              </a:rPr>
              <a:t>Reven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04D3F1-1BC3-480E-ABBA-08142CC66E45}"/>
              </a:ext>
            </a:extLst>
          </p:cNvPr>
          <p:cNvSpPr/>
          <p:nvPr/>
        </p:nvSpPr>
        <p:spPr>
          <a:xfrm>
            <a:off x="5242995" y="2072935"/>
            <a:ext cx="2716870" cy="256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700" b="1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916C0E-FA8A-4F07-AFDD-CBD687156042}"/>
              </a:ext>
            </a:extLst>
          </p:cNvPr>
          <p:cNvSpPr/>
          <p:nvPr/>
        </p:nvSpPr>
        <p:spPr>
          <a:xfrm>
            <a:off x="6028414" y="1049081"/>
            <a:ext cx="1122939" cy="356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700" b="1">
                <a:solidFill>
                  <a:srgbClr val="000000"/>
                </a:solidFill>
                <a:latin typeface="Arial" panose="020B0604020202020204"/>
              </a:rPr>
              <a:t>22% </a:t>
            </a:r>
            <a:br>
              <a:rPr lang="en-US" sz="700" b="1">
                <a:solidFill>
                  <a:srgbClr val="000000"/>
                </a:solidFill>
                <a:latin typeface="Arial" panose="020B0604020202020204"/>
              </a:rPr>
            </a:br>
            <a:r>
              <a:rPr lang="en-US" sz="700" b="1">
                <a:solidFill>
                  <a:srgbClr val="000000"/>
                </a:solidFill>
                <a:latin typeface="Arial" panose="020B0604020202020204"/>
              </a:rPr>
              <a:t>Revenu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F85FE4-50BB-48B8-A012-B2E6CD1B1444}"/>
              </a:ext>
            </a:extLst>
          </p:cNvPr>
          <p:cNvSpPr/>
          <p:nvPr/>
        </p:nvSpPr>
        <p:spPr>
          <a:xfrm>
            <a:off x="7974354" y="1016732"/>
            <a:ext cx="1099964" cy="356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700" b="1">
                <a:solidFill>
                  <a:srgbClr val="000000"/>
                </a:solidFill>
                <a:latin typeface="Arial" panose="020B0604020202020204"/>
              </a:rPr>
              <a:t>3% </a:t>
            </a:r>
            <a:br>
              <a:rPr lang="en-US" sz="700" b="1">
                <a:solidFill>
                  <a:srgbClr val="000000"/>
                </a:solidFill>
                <a:latin typeface="Arial" panose="020B0604020202020204"/>
              </a:rPr>
            </a:br>
            <a:r>
              <a:rPr lang="en-US" sz="700" b="1">
                <a:solidFill>
                  <a:srgbClr val="000000"/>
                </a:solidFill>
                <a:latin typeface="Arial" panose="020B0604020202020204"/>
              </a:rPr>
              <a:t>Revenu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B0C3436-D4EC-4231-8BDE-FB885490EFF8}"/>
              </a:ext>
            </a:extLst>
          </p:cNvPr>
          <p:cNvGrpSpPr/>
          <p:nvPr/>
        </p:nvGrpSpPr>
        <p:grpSpPr>
          <a:xfrm>
            <a:off x="158539" y="818697"/>
            <a:ext cx="3623496" cy="3774902"/>
            <a:chOff x="-2915001" y="5432"/>
            <a:chExt cx="3623496" cy="396685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2A39F62-A3FB-4C70-AC3F-918ED166CE47}"/>
                </a:ext>
              </a:extLst>
            </p:cNvPr>
            <p:cNvGrpSpPr/>
            <p:nvPr/>
          </p:nvGrpSpPr>
          <p:grpSpPr>
            <a:xfrm>
              <a:off x="-2915001" y="5432"/>
              <a:ext cx="3623496" cy="3966858"/>
              <a:chOff x="5427289" y="919156"/>
              <a:chExt cx="3623496" cy="3966858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B1D45263-8658-45D6-A517-4112BD8EC5D5}"/>
                  </a:ext>
                </a:extLst>
              </p:cNvPr>
              <p:cNvGrpSpPr/>
              <p:nvPr/>
            </p:nvGrpSpPr>
            <p:grpSpPr>
              <a:xfrm>
                <a:off x="5427289" y="919156"/>
                <a:ext cx="3623496" cy="3966858"/>
                <a:chOff x="5330529" y="1763100"/>
                <a:chExt cx="3623496" cy="3966858"/>
              </a:xfrm>
            </p:grpSpPr>
            <p:sp>
              <p:nvSpPr>
                <p:cNvPr id="17" name="Rectangle 2">
                  <a:extLst>
                    <a:ext uri="{FF2B5EF4-FFF2-40B4-BE49-F238E27FC236}">
                      <a16:creationId xmlns:a16="http://schemas.microsoft.com/office/drawing/2014/main" id="{3393C2D1-F1C3-4629-B062-6816C8F0424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92211" y="1763100"/>
                  <a:ext cx="3561814" cy="3966858"/>
                </a:xfrm>
                <a:prstGeom prst="rect">
                  <a:avLst/>
                </a:prstGeom>
                <a:solidFill>
                  <a:schemeClr val="bg1">
                    <a:lumMod val="50000"/>
                    <a:alpha val="90000"/>
                  </a:schemeClr>
                </a:solidFill>
                <a:ln>
                  <a:noFill/>
                </a:ln>
              </p:spPr>
              <p:txBody>
                <a:bodyPr lIns="530352" tIns="91440"/>
                <a:lstStyle/>
                <a:p>
                  <a:pPr>
                    <a:spcBef>
                      <a:spcPts val="400"/>
                    </a:spcBef>
                  </a:pPr>
                  <a:endParaRPr lang="en-US" altLang="en-US" sz="2200">
                    <a:solidFill>
                      <a:srgbClr val="F0B323"/>
                    </a:solidFill>
                  </a:endParaRPr>
                </a:p>
              </p:txBody>
            </p:sp>
            <p:grpSp>
              <p:nvGrpSpPr>
                <p:cNvPr id="18" name="Group 17">
                  <a:extLst>
                    <a:ext uri="{FF2B5EF4-FFF2-40B4-BE49-F238E27FC236}">
                      <a16:creationId xmlns:a16="http://schemas.microsoft.com/office/drawing/2014/main" id="{FEB0EAAD-A5A7-48C0-A45C-9D91D47FB433}"/>
                    </a:ext>
                  </a:extLst>
                </p:cNvPr>
                <p:cNvGrpSpPr/>
                <p:nvPr/>
              </p:nvGrpSpPr>
              <p:grpSpPr>
                <a:xfrm>
                  <a:off x="5663461" y="3421991"/>
                  <a:ext cx="2923537" cy="555253"/>
                  <a:chOff x="4774259" y="3514502"/>
                  <a:chExt cx="2923537" cy="555253"/>
                </a:xfrm>
              </p:grpSpPr>
              <p:sp>
                <p:nvSpPr>
                  <p:cNvPr id="19" name="Rectangle 903">
                    <a:extLst>
                      <a:ext uri="{FF2B5EF4-FFF2-40B4-BE49-F238E27FC236}">
                        <a16:creationId xmlns:a16="http://schemas.microsoft.com/office/drawing/2014/main" id="{97F282AA-B07D-4B41-B16F-CF89801261F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911047" y="3514502"/>
                    <a:ext cx="1243930" cy="12128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</a:pPr>
                    <a:r>
                      <a:rPr lang="en-US" sz="750">
                        <a:solidFill>
                          <a:schemeClr val="bg1"/>
                        </a:solidFill>
                        <a:latin typeface="Univers LT Std 55" pitchFamily="34" charset="0"/>
                        <a:cs typeface="Arial" pitchFamily="34" charset="0"/>
                      </a:rPr>
                      <a:t>Aerospace Group Headquarters</a:t>
                    </a:r>
                  </a:p>
                </p:txBody>
              </p:sp>
              <p:grpSp>
                <p:nvGrpSpPr>
                  <p:cNvPr id="20" name="Group 19">
                    <a:extLst>
                      <a:ext uri="{FF2B5EF4-FFF2-40B4-BE49-F238E27FC236}">
                        <a16:creationId xmlns:a16="http://schemas.microsoft.com/office/drawing/2014/main" id="{F966DA9B-D295-4C1C-8BDC-783F900606C7}"/>
                      </a:ext>
                    </a:extLst>
                  </p:cNvPr>
                  <p:cNvGrpSpPr/>
                  <p:nvPr/>
                </p:nvGrpSpPr>
                <p:grpSpPr>
                  <a:xfrm>
                    <a:off x="4774259" y="3523339"/>
                    <a:ext cx="98965" cy="97743"/>
                    <a:chOff x="4774259" y="3529926"/>
                    <a:chExt cx="98965" cy="97743"/>
                  </a:xfrm>
                </p:grpSpPr>
                <p:sp>
                  <p:nvSpPr>
                    <p:cNvPr id="45" name="Oval 910">
                      <a:extLst>
                        <a:ext uri="{FF2B5EF4-FFF2-40B4-BE49-F238E27FC236}">
                          <a16:creationId xmlns:a16="http://schemas.microsoft.com/office/drawing/2014/main" id="{D0A45598-D775-4290-9919-884161793E4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4259" y="3529926"/>
                      <a:ext cx="98965" cy="97743"/>
                    </a:xfrm>
                    <a:prstGeom prst="ellipse">
                      <a:avLst/>
                    </a:prstGeom>
                    <a:solidFill>
                      <a:srgbClr val="FFFFFF">
                        <a:alpha val="80000"/>
                      </a:srgb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" name="Oval 911">
                      <a:extLst>
                        <a:ext uri="{FF2B5EF4-FFF2-40B4-BE49-F238E27FC236}">
                          <a16:creationId xmlns:a16="http://schemas.microsoft.com/office/drawing/2014/main" id="{D90B7F10-48D2-465D-8C59-8627F8D5A83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7699" y="3542144"/>
                      <a:ext cx="72086" cy="73307"/>
                    </a:xfrm>
                    <a:prstGeom prst="ellipse">
                      <a:avLst/>
                    </a:prstGeom>
                    <a:solidFill>
                      <a:srgbClr val="DA3327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1" name="Group 20">
                    <a:extLst>
                      <a:ext uri="{FF2B5EF4-FFF2-40B4-BE49-F238E27FC236}">
                        <a16:creationId xmlns:a16="http://schemas.microsoft.com/office/drawing/2014/main" id="{826C500C-3CB5-4565-81B4-57B126494950}"/>
                      </a:ext>
                    </a:extLst>
                  </p:cNvPr>
                  <p:cNvGrpSpPr/>
                  <p:nvPr/>
                </p:nvGrpSpPr>
                <p:grpSpPr>
                  <a:xfrm>
                    <a:off x="4774259" y="3671170"/>
                    <a:ext cx="98965" cy="97743"/>
                    <a:chOff x="4774259" y="3667739"/>
                    <a:chExt cx="98965" cy="97743"/>
                  </a:xfrm>
                </p:grpSpPr>
                <p:sp>
                  <p:nvSpPr>
                    <p:cNvPr id="43" name="Oval 912">
                      <a:extLst>
                        <a:ext uri="{FF2B5EF4-FFF2-40B4-BE49-F238E27FC236}">
                          <a16:creationId xmlns:a16="http://schemas.microsoft.com/office/drawing/2014/main" id="{22F97F82-224C-4A9E-A794-D2E3DF7477DF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4259" y="3667739"/>
                      <a:ext cx="98965" cy="97743"/>
                    </a:xfrm>
                    <a:prstGeom prst="ellipse">
                      <a:avLst/>
                    </a:prstGeom>
                    <a:solidFill>
                      <a:srgbClr val="FFFFFF">
                        <a:alpha val="80000"/>
                      </a:srgb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4" name="Oval 913">
                      <a:extLst>
                        <a:ext uri="{FF2B5EF4-FFF2-40B4-BE49-F238E27FC236}">
                          <a16:creationId xmlns:a16="http://schemas.microsoft.com/office/drawing/2014/main" id="{4AF1CFC3-ABC3-4A58-B8B4-E13071CE78F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7699" y="3679957"/>
                      <a:ext cx="72086" cy="73307"/>
                    </a:xfrm>
                    <a:prstGeom prst="ellipse">
                      <a:avLst/>
                    </a:prstGeom>
                    <a:solidFill>
                      <a:srgbClr val="0C477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2" name="Group 21">
                    <a:extLst>
                      <a:ext uri="{FF2B5EF4-FFF2-40B4-BE49-F238E27FC236}">
                        <a16:creationId xmlns:a16="http://schemas.microsoft.com/office/drawing/2014/main" id="{E7ED968C-F721-4DA7-8F74-BFBFA891F521}"/>
                      </a:ext>
                    </a:extLst>
                  </p:cNvPr>
                  <p:cNvGrpSpPr/>
                  <p:nvPr/>
                </p:nvGrpSpPr>
                <p:grpSpPr>
                  <a:xfrm>
                    <a:off x="4774259" y="3814579"/>
                    <a:ext cx="98965" cy="98965"/>
                    <a:chOff x="4774259" y="3807271"/>
                    <a:chExt cx="98965" cy="98965"/>
                  </a:xfrm>
                </p:grpSpPr>
                <p:sp>
                  <p:nvSpPr>
                    <p:cNvPr id="41" name="Oval 914">
                      <a:extLst>
                        <a:ext uri="{FF2B5EF4-FFF2-40B4-BE49-F238E27FC236}">
                          <a16:creationId xmlns:a16="http://schemas.microsoft.com/office/drawing/2014/main" id="{04944F77-4675-456A-8BCF-5006029C5DD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4259" y="3807271"/>
                      <a:ext cx="98965" cy="98965"/>
                    </a:xfrm>
                    <a:prstGeom prst="ellipse">
                      <a:avLst/>
                    </a:prstGeom>
                    <a:solidFill>
                      <a:srgbClr val="FFFFFF">
                        <a:alpha val="80000"/>
                      </a:srgb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2" name="Oval 915">
                      <a:extLst>
                        <a:ext uri="{FF2B5EF4-FFF2-40B4-BE49-F238E27FC236}">
                          <a16:creationId xmlns:a16="http://schemas.microsoft.com/office/drawing/2014/main" id="{F8131EA8-D531-4D39-B200-B20D7FF4E809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7699" y="3820711"/>
                      <a:ext cx="72086" cy="73307"/>
                    </a:xfrm>
                    <a:prstGeom prst="ellipse">
                      <a:avLst/>
                    </a:prstGeom>
                    <a:solidFill>
                      <a:srgbClr val="408A4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3" name="Group 22">
                    <a:extLst>
                      <a:ext uri="{FF2B5EF4-FFF2-40B4-BE49-F238E27FC236}">
                        <a16:creationId xmlns:a16="http://schemas.microsoft.com/office/drawing/2014/main" id="{583C85D1-5911-4D08-B1D1-B69B9B137966}"/>
                      </a:ext>
                    </a:extLst>
                  </p:cNvPr>
                  <p:cNvGrpSpPr/>
                  <p:nvPr/>
                </p:nvGrpSpPr>
                <p:grpSpPr>
                  <a:xfrm>
                    <a:off x="4774259" y="3957307"/>
                    <a:ext cx="98965" cy="97743"/>
                    <a:chOff x="4774259" y="3951442"/>
                    <a:chExt cx="98965" cy="97743"/>
                  </a:xfrm>
                </p:grpSpPr>
                <p:sp>
                  <p:nvSpPr>
                    <p:cNvPr id="39" name="Oval 916">
                      <a:extLst>
                        <a:ext uri="{FF2B5EF4-FFF2-40B4-BE49-F238E27FC236}">
                          <a16:creationId xmlns:a16="http://schemas.microsoft.com/office/drawing/2014/main" id="{4296FE6A-6470-4D4B-BB51-FE592B35132F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74259" y="3951442"/>
                      <a:ext cx="98965" cy="97743"/>
                    </a:xfrm>
                    <a:prstGeom prst="ellipse">
                      <a:avLst/>
                    </a:prstGeom>
                    <a:solidFill>
                      <a:srgbClr val="FFFFFF">
                        <a:alpha val="80000"/>
                      </a:srgb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0" name="Oval 917">
                      <a:extLst>
                        <a:ext uri="{FF2B5EF4-FFF2-40B4-BE49-F238E27FC236}">
                          <a16:creationId xmlns:a16="http://schemas.microsoft.com/office/drawing/2014/main" id="{24576CA8-4F44-40F2-88D6-FE7B010F779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87699" y="3963660"/>
                      <a:ext cx="72086" cy="73307"/>
                    </a:xfrm>
                    <a:prstGeom prst="ellipse">
                      <a:avLst/>
                    </a:prstGeom>
                    <a:solidFill>
                      <a:srgbClr val="F7921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4" name="Rectangle 903">
                    <a:extLst>
                      <a:ext uri="{FF2B5EF4-FFF2-40B4-BE49-F238E27FC236}">
                        <a16:creationId xmlns:a16="http://schemas.microsoft.com/office/drawing/2014/main" id="{750D5E6D-A7AC-4A32-A5FE-A7121FF9755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911047" y="3662332"/>
                    <a:ext cx="1136530" cy="12128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</a:pPr>
                    <a:r>
                      <a:rPr lang="en-US" sz="750">
                        <a:solidFill>
                          <a:schemeClr val="bg1"/>
                        </a:solidFill>
                        <a:latin typeface="Univers LT Std 55" pitchFamily="34" charset="0"/>
                        <a:cs typeface="Arial" pitchFamily="34" charset="0"/>
                      </a:rPr>
                      <a:t>APAC Regional Headquarters</a:t>
                    </a:r>
                  </a:p>
                </p:txBody>
              </p:sp>
              <p:sp>
                <p:nvSpPr>
                  <p:cNvPr id="25" name="Rectangle 903">
                    <a:extLst>
                      <a:ext uri="{FF2B5EF4-FFF2-40B4-BE49-F238E27FC236}">
                        <a16:creationId xmlns:a16="http://schemas.microsoft.com/office/drawing/2014/main" id="{406272E5-929E-4D26-AC7D-ED50076C26D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911047" y="3806353"/>
                    <a:ext cx="939360" cy="12128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</a:pPr>
                    <a:r>
                      <a:rPr lang="en-US" sz="750">
                        <a:solidFill>
                          <a:schemeClr val="bg1"/>
                        </a:solidFill>
                        <a:latin typeface="Univers LT Std 55" pitchFamily="34" charset="0"/>
                        <a:cs typeface="Arial" pitchFamily="34" charset="0"/>
                      </a:rPr>
                      <a:t>Divisional Headquarters</a:t>
                    </a:r>
                  </a:p>
                </p:txBody>
              </p:sp>
              <p:sp>
                <p:nvSpPr>
                  <p:cNvPr id="26" name="Rectangle 903">
                    <a:extLst>
                      <a:ext uri="{FF2B5EF4-FFF2-40B4-BE49-F238E27FC236}">
                        <a16:creationId xmlns:a16="http://schemas.microsoft.com/office/drawing/2014/main" id="{1D6FA776-0AC8-4E87-9C57-0592B37EA8A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911047" y="3948470"/>
                    <a:ext cx="926536" cy="12128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</a:pPr>
                    <a:r>
                      <a:rPr lang="en-US" sz="750">
                        <a:solidFill>
                          <a:schemeClr val="bg1"/>
                        </a:solidFill>
                        <a:latin typeface="Univers LT Std 55" pitchFamily="34" charset="0"/>
                        <a:cs typeface="Arial" pitchFamily="34" charset="0"/>
                      </a:rPr>
                      <a:t>Manufacturing facilities</a:t>
                    </a:r>
                  </a:p>
                </p:txBody>
              </p:sp>
              <p:grpSp>
                <p:nvGrpSpPr>
                  <p:cNvPr id="27" name="Group 26">
                    <a:extLst>
                      <a:ext uri="{FF2B5EF4-FFF2-40B4-BE49-F238E27FC236}">
                        <a16:creationId xmlns:a16="http://schemas.microsoft.com/office/drawing/2014/main" id="{72904646-96F0-4AF8-B408-56672998B09E}"/>
                      </a:ext>
                    </a:extLst>
                  </p:cNvPr>
                  <p:cNvGrpSpPr/>
                  <p:nvPr/>
                </p:nvGrpSpPr>
                <p:grpSpPr>
                  <a:xfrm>
                    <a:off x="6544704" y="3523339"/>
                    <a:ext cx="98965" cy="97743"/>
                    <a:chOff x="6544704" y="3528217"/>
                    <a:chExt cx="98965" cy="97743"/>
                  </a:xfrm>
                </p:grpSpPr>
                <p:sp>
                  <p:nvSpPr>
                    <p:cNvPr id="37" name="Oval 918">
                      <a:extLst>
                        <a:ext uri="{FF2B5EF4-FFF2-40B4-BE49-F238E27FC236}">
                          <a16:creationId xmlns:a16="http://schemas.microsoft.com/office/drawing/2014/main" id="{4C1B0BCB-B03C-4709-967F-91ECEC53A50E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544704" y="3528217"/>
                      <a:ext cx="98965" cy="97743"/>
                    </a:xfrm>
                    <a:prstGeom prst="ellipse">
                      <a:avLst/>
                    </a:prstGeom>
                    <a:solidFill>
                      <a:srgbClr val="FFFFFF">
                        <a:alpha val="80000"/>
                      </a:srgb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" name="Oval 919">
                      <a:extLst>
                        <a:ext uri="{FF2B5EF4-FFF2-40B4-BE49-F238E27FC236}">
                          <a16:creationId xmlns:a16="http://schemas.microsoft.com/office/drawing/2014/main" id="{85F70035-4AFD-4751-BB60-644F890F3E3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558144" y="3540435"/>
                      <a:ext cx="72086" cy="73307"/>
                    </a:xfrm>
                    <a:prstGeom prst="ellipse">
                      <a:avLst/>
                    </a:prstGeom>
                    <a:solidFill>
                      <a:srgbClr val="00A69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8" name="Group 27">
                    <a:extLst>
                      <a:ext uri="{FF2B5EF4-FFF2-40B4-BE49-F238E27FC236}">
                        <a16:creationId xmlns:a16="http://schemas.microsoft.com/office/drawing/2014/main" id="{4B66C006-1CF2-45C3-8AE0-A0CA36AD8CD0}"/>
                      </a:ext>
                    </a:extLst>
                  </p:cNvPr>
                  <p:cNvGrpSpPr/>
                  <p:nvPr/>
                </p:nvGrpSpPr>
                <p:grpSpPr>
                  <a:xfrm>
                    <a:off x="6544704" y="3670559"/>
                    <a:ext cx="98965" cy="98965"/>
                    <a:chOff x="6544704" y="3662613"/>
                    <a:chExt cx="98965" cy="98965"/>
                  </a:xfrm>
                </p:grpSpPr>
                <p:sp>
                  <p:nvSpPr>
                    <p:cNvPr id="35" name="Oval 920">
                      <a:extLst>
                        <a:ext uri="{FF2B5EF4-FFF2-40B4-BE49-F238E27FC236}">
                          <a16:creationId xmlns:a16="http://schemas.microsoft.com/office/drawing/2014/main" id="{2AD42DB6-A977-4E25-AAB0-B8D9C839C3E0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544704" y="3662613"/>
                      <a:ext cx="98965" cy="98965"/>
                    </a:xfrm>
                    <a:prstGeom prst="ellipse">
                      <a:avLst/>
                    </a:prstGeom>
                    <a:solidFill>
                      <a:srgbClr val="FFFFFF">
                        <a:alpha val="80000"/>
                      </a:srgb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6" name="Oval 921">
                      <a:extLst>
                        <a:ext uri="{FF2B5EF4-FFF2-40B4-BE49-F238E27FC236}">
                          <a16:creationId xmlns:a16="http://schemas.microsoft.com/office/drawing/2014/main" id="{E968ECCB-615E-4935-B7BA-2EF77B80958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558144" y="3676053"/>
                      <a:ext cx="72086" cy="72086"/>
                    </a:xfrm>
                    <a:prstGeom prst="ellipse">
                      <a:avLst/>
                    </a:prstGeom>
                    <a:solidFill>
                      <a:srgbClr val="9C1B3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9" name="Group 28">
                    <a:extLst>
                      <a:ext uri="{FF2B5EF4-FFF2-40B4-BE49-F238E27FC236}">
                        <a16:creationId xmlns:a16="http://schemas.microsoft.com/office/drawing/2014/main" id="{B4B66A46-E91A-416E-BD0E-01DC381F9DE9}"/>
                      </a:ext>
                    </a:extLst>
                  </p:cNvPr>
                  <p:cNvGrpSpPr/>
                  <p:nvPr/>
                </p:nvGrpSpPr>
                <p:grpSpPr>
                  <a:xfrm>
                    <a:off x="6544704" y="3815190"/>
                    <a:ext cx="98965" cy="97743"/>
                    <a:chOff x="6544704" y="3817780"/>
                    <a:chExt cx="98965" cy="97743"/>
                  </a:xfrm>
                </p:grpSpPr>
                <p:sp>
                  <p:nvSpPr>
                    <p:cNvPr id="33" name="Oval 922">
                      <a:extLst>
                        <a:ext uri="{FF2B5EF4-FFF2-40B4-BE49-F238E27FC236}">
                          <a16:creationId xmlns:a16="http://schemas.microsoft.com/office/drawing/2014/main" id="{DFF1930C-CAAB-439B-B664-8F351939C1DF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544704" y="3817780"/>
                      <a:ext cx="98965" cy="97743"/>
                    </a:xfrm>
                    <a:prstGeom prst="ellipse">
                      <a:avLst/>
                    </a:prstGeom>
                    <a:solidFill>
                      <a:srgbClr val="FFFFFF">
                        <a:alpha val="80000"/>
                      </a:srgb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4" name="Oval 923">
                      <a:extLst>
                        <a:ext uri="{FF2B5EF4-FFF2-40B4-BE49-F238E27FC236}">
                          <a16:creationId xmlns:a16="http://schemas.microsoft.com/office/drawing/2014/main" id="{9628C3D8-444C-498E-A37A-DF4C4273910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558144" y="3829998"/>
                      <a:ext cx="72086" cy="72086"/>
                    </a:xfrm>
                    <a:prstGeom prst="ellipse">
                      <a:avLst/>
                    </a:prstGeom>
                    <a:solidFill>
                      <a:srgbClr val="5C696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0" name="Rectangle 903">
                    <a:extLst>
                      <a:ext uri="{FF2B5EF4-FFF2-40B4-BE49-F238E27FC236}">
                        <a16:creationId xmlns:a16="http://schemas.microsoft.com/office/drawing/2014/main" id="{B5EB2DD6-AED6-414D-91A1-6D9ED473662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681492" y="3514502"/>
                    <a:ext cx="896079" cy="12128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</a:pPr>
                    <a:r>
                      <a:rPr lang="en-US" sz="750">
                        <a:solidFill>
                          <a:schemeClr val="bg1"/>
                        </a:solidFill>
                        <a:latin typeface="Univers LT Std 55" pitchFamily="34" charset="0"/>
                        <a:cs typeface="Arial" pitchFamily="34" charset="0"/>
                      </a:rPr>
                      <a:t>Sales &amp; support ofﬁces</a:t>
                    </a:r>
                  </a:p>
                </p:txBody>
              </p:sp>
              <p:sp>
                <p:nvSpPr>
                  <p:cNvPr id="31" name="Rectangle 903">
                    <a:extLst>
                      <a:ext uri="{FF2B5EF4-FFF2-40B4-BE49-F238E27FC236}">
                        <a16:creationId xmlns:a16="http://schemas.microsoft.com/office/drawing/2014/main" id="{6127476E-985A-42DC-8F63-748500AD23C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681492" y="3662333"/>
                    <a:ext cx="788677" cy="12128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</a:pPr>
                    <a:r>
                      <a:rPr lang="en-US" sz="750">
                        <a:solidFill>
                          <a:schemeClr val="bg1"/>
                        </a:solidFill>
                        <a:latin typeface="Univers LT Std 55" pitchFamily="34" charset="0"/>
                        <a:cs typeface="Arial" pitchFamily="34" charset="0"/>
                      </a:rPr>
                      <a:t>Engineering Centers</a:t>
                    </a:r>
                  </a:p>
                </p:txBody>
              </p:sp>
              <p:sp>
                <p:nvSpPr>
                  <p:cNvPr id="32" name="Rectangle 903">
                    <a:extLst>
                      <a:ext uri="{FF2B5EF4-FFF2-40B4-BE49-F238E27FC236}">
                        <a16:creationId xmlns:a16="http://schemas.microsoft.com/office/drawing/2014/main" id="{11C3541A-0FEC-4342-9BFE-84921FF70A0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681492" y="3806353"/>
                    <a:ext cx="1016304" cy="12128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</a:pPr>
                    <a:r>
                      <a:rPr lang="en-US" sz="750">
                        <a:solidFill>
                          <a:schemeClr val="bg1"/>
                        </a:solidFill>
                        <a:latin typeface="Univers LT Std 55" pitchFamily="34" charset="0"/>
                        <a:cs typeface="Arial" pitchFamily="34" charset="0"/>
                      </a:rPr>
                      <a:t>Eaton SAMC joint venture</a:t>
                    </a:r>
                  </a:p>
                </p:txBody>
              </p:sp>
            </p:grpSp>
            <p:pic>
              <p:nvPicPr>
                <p:cNvPr id="47" name="Picture 46">
                  <a:extLst>
                    <a:ext uri="{FF2B5EF4-FFF2-40B4-BE49-F238E27FC236}">
                      <a16:creationId xmlns:a16="http://schemas.microsoft.com/office/drawing/2014/main" id="{25552B3C-D796-4699-B15A-E501AEA020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330529" y="1905065"/>
                  <a:ext cx="3424785" cy="1652566"/>
                </a:xfrm>
                <a:prstGeom prst="rect">
                  <a:avLst/>
                </a:prstGeom>
              </p:spPr>
            </p:pic>
          </p:grp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FC9E9812-D39E-46D8-ACEA-1AF933E4B66F}"/>
                  </a:ext>
                </a:extLst>
              </p:cNvPr>
              <p:cNvSpPr/>
              <p:nvPr/>
            </p:nvSpPr>
            <p:spPr>
              <a:xfrm>
                <a:off x="5488971" y="3202468"/>
                <a:ext cx="3561814" cy="339598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t">
                <a:spAutoFit/>
              </a:bodyPr>
              <a:lstStyle/>
              <a:p>
                <a:pPr marL="109725">
                  <a:spcBef>
                    <a:spcPts val="500"/>
                  </a:spcBef>
                  <a:buClr>
                    <a:schemeClr val="bg1"/>
                  </a:buClr>
                  <a:defRPr/>
                </a:pPr>
                <a:endParaRPr lang="en-US" sz="750">
                  <a:solidFill>
                    <a:schemeClr val="bg1"/>
                  </a:solidFill>
                  <a:latin typeface="Univers LT Std 55" pitchFamily="34" charset="0"/>
                  <a:cs typeface="Arial" pitchFamily="34" charset="0"/>
                </a:endParaRPr>
              </a:p>
              <a:p>
                <a:pPr marL="109725">
                  <a:buClr>
                    <a:schemeClr val="bg1"/>
                  </a:buClr>
                  <a:defRPr/>
                </a:pPr>
                <a:endParaRPr lang="en-US" sz="750">
                  <a:solidFill>
                    <a:schemeClr val="bg1"/>
                  </a:solidFill>
                  <a:latin typeface="Univers LT Std 55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D8729AFE-112C-451C-8D6B-09D3EBC33FBA}"/>
                </a:ext>
              </a:extLst>
            </p:cNvPr>
            <p:cNvCxnSpPr>
              <a:cxnSpLocks/>
            </p:cNvCxnSpPr>
            <p:nvPr/>
          </p:nvCxnSpPr>
          <p:spPr>
            <a:xfrm>
              <a:off x="-2582069" y="2303961"/>
              <a:ext cx="3145157" cy="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52" name="Slide Number Placeholder 3">
            <a:extLst>
              <a:ext uri="{FF2B5EF4-FFF2-40B4-BE49-F238E27FC236}">
                <a16:creationId xmlns:a16="http://schemas.microsoft.com/office/drawing/2014/main" id="{9020C020-FA29-413B-81D4-35B0CADA6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03652"/>
            <a:ext cx="2133600" cy="273844"/>
          </a:xfrm>
        </p:spPr>
        <p:txBody>
          <a:bodyPr/>
          <a:lstStyle/>
          <a:p>
            <a:fld id="{3F2A62CB-A42E-470E-A301-EA6420987B38}" type="slidenum">
              <a:rPr lang="en-US" smtClean="0"/>
              <a:pPr/>
              <a:t>9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B12C00B-2343-4BEB-9479-9A513BE5B937}"/>
              </a:ext>
            </a:extLst>
          </p:cNvPr>
          <p:cNvCxnSpPr>
            <a:cxnSpLocks/>
          </p:cNvCxnSpPr>
          <p:nvPr/>
        </p:nvCxnSpPr>
        <p:spPr>
          <a:xfrm>
            <a:off x="5242994" y="1373303"/>
            <a:ext cx="2669106" cy="0"/>
          </a:xfrm>
          <a:prstGeom prst="line">
            <a:avLst/>
          </a:prstGeom>
          <a:ln>
            <a:solidFill>
              <a:srgbClr val="B4B4B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BF2ED6F-A722-4B44-A157-65D6EAB94923}"/>
              </a:ext>
            </a:extLst>
          </p:cNvPr>
          <p:cNvCxnSpPr>
            <a:cxnSpLocks/>
          </p:cNvCxnSpPr>
          <p:nvPr/>
        </p:nvCxnSpPr>
        <p:spPr>
          <a:xfrm>
            <a:off x="4157134" y="1373303"/>
            <a:ext cx="941917" cy="0"/>
          </a:xfrm>
          <a:prstGeom prst="line">
            <a:avLst/>
          </a:prstGeom>
          <a:ln>
            <a:solidFill>
              <a:srgbClr val="B4B4B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C4274AD-026A-4B43-912B-7785EBA97669}"/>
              </a:ext>
            </a:extLst>
          </p:cNvPr>
          <p:cNvCxnSpPr>
            <a:cxnSpLocks/>
          </p:cNvCxnSpPr>
          <p:nvPr/>
        </p:nvCxnSpPr>
        <p:spPr>
          <a:xfrm>
            <a:off x="8032751" y="1373303"/>
            <a:ext cx="981075" cy="0"/>
          </a:xfrm>
          <a:prstGeom prst="line">
            <a:avLst/>
          </a:prstGeom>
          <a:ln>
            <a:solidFill>
              <a:srgbClr val="B4B4B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4329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aton Confidential">
  <a:themeElements>
    <a:clrScheme name="Evolution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10.xml><?xml version="1.0" encoding="utf-8"?>
<a:theme xmlns:a="http://schemas.openxmlformats.org/drawingml/2006/main" name="1_Eaton Confidential">
  <a:themeElements>
    <a:clrScheme name="Evolution Presentations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11.xml><?xml version="1.0" encoding="utf-8"?>
<a:theme xmlns:a="http://schemas.openxmlformats.org/drawingml/2006/main" name="2_Eaton Confidential">
  <a:themeElements>
    <a:clrScheme name="Project Evolution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12.xml><?xml version="1.0" encoding="utf-8"?>
<a:theme xmlns:a="http://schemas.openxmlformats.org/drawingml/2006/main" name="3_Eaton Confidential">
  <a:themeElements>
    <a:clrScheme name="Evolution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o Logo">
  <a:themeElements>
    <a:clrScheme name="Evolution Presentations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3.xml><?xml version="1.0" encoding="utf-8"?>
<a:theme xmlns:a="http://schemas.openxmlformats.org/drawingml/2006/main" name="No Copyright">
  <a:themeElements>
    <a:clrScheme name="Evolution Presentations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4.xml><?xml version="1.0" encoding="utf-8"?>
<a:theme xmlns:a="http://schemas.openxmlformats.org/drawingml/2006/main" name="No Page">
  <a:themeElements>
    <a:clrScheme name="Evolution Presentations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5.xml><?xml version="1.0" encoding="utf-8"?>
<a:theme xmlns:a="http://schemas.openxmlformats.org/drawingml/2006/main" name="No Logo No Copyright">
  <a:themeElements>
    <a:clrScheme name="Evolution Presentations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6.xml><?xml version="1.0" encoding="utf-8"?>
<a:theme xmlns:a="http://schemas.openxmlformats.org/drawingml/2006/main" name="No Logo, No Page">
  <a:themeElements>
    <a:clrScheme name="Evolution Presentations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7.xml><?xml version="1.0" encoding="utf-8"?>
<a:theme xmlns:a="http://schemas.openxmlformats.org/drawingml/2006/main" name="No Logo, No Copyright, No Page">
  <a:themeElements>
    <a:clrScheme name="Evolution Presentations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8.xml><?xml version="1.0" encoding="utf-8"?>
<a:theme xmlns:a="http://schemas.openxmlformats.org/drawingml/2006/main" name="Eaton Confidential">
  <a:themeElements>
    <a:clrScheme name="Evolution Presentations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10669C"/>
      </a:accent3>
      <a:accent4>
        <a:srgbClr val="2D95C6"/>
      </a:accent4>
      <a:accent5>
        <a:srgbClr val="5EAECB"/>
      </a:accent5>
      <a:accent6>
        <a:srgbClr val="4D585F"/>
      </a:accent6>
      <a:hlink>
        <a:srgbClr val="FFFF00"/>
      </a:hlink>
      <a:folHlink>
        <a:srgbClr val="FFFF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09060B5-87D9-477B-B3C3-DB3D12CACACE}" vid="{64CCBDFE-AFF5-4A32-A912-9D89078B17CD}"/>
    </a:ext>
  </a:extLst>
</a:theme>
</file>

<file path=ppt/theme/theme9.xml><?xml version="1.0" encoding="utf-8"?>
<a:theme xmlns:a="http://schemas.openxmlformats.org/drawingml/2006/main" name="Office Theme">
  <a:themeElements>
    <a:clrScheme name="Eaton">
      <a:dk1>
        <a:srgbClr val="000000"/>
      </a:dk1>
      <a:lt1>
        <a:srgbClr val="FFFFFF"/>
      </a:lt1>
      <a:dk2>
        <a:srgbClr val="5B6770"/>
      </a:dk2>
      <a:lt2>
        <a:srgbClr val="DDE0E3"/>
      </a:lt2>
      <a:accent1>
        <a:srgbClr val="005EB8"/>
      </a:accent1>
      <a:accent2>
        <a:srgbClr val="003865"/>
      </a:accent2>
      <a:accent3>
        <a:srgbClr val="71B2C9"/>
      </a:accent3>
      <a:accent4>
        <a:srgbClr val="ED8B00"/>
      </a:accent4>
      <a:accent5>
        <a:srgbClr val="4C8C2B"/>
      </a:accent5>
      <a:accent6>
        <a:srgbClr val="FFC72C"/>
      </a:accent6>
      <a:hlink>
        <a:srgbClr val="ED8B00"/>
      </a:hlink>
      <a:folHlink>
        <a:srgbClr val="9D223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aton_PowerPoint_template" id="{2473FEB0-C571-497B-A48A-1EFBCB94F593}" vid="{69315C22-BC33-426B-AEA2-1F3B3BEDCA0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8afa00-c53d-4f15-ab89-5a7351c8f0f2">
      <UserInfo>
        <DisplayName>Datta, Sudeshna</DisplayName>
        <AccountId>28</AccountId>
        <AccountType/>
      </UserInfo>
      <UserInfo>
        <DisplayName>Racadio, Ricca</DisplayName>
        <AccountId>17</AccountId>
        <AccountType/>
      </UserInfo>
      <UserInfo>
        <DisplayName>Kelly, Alicia</DisplayName>
        <AccountId>155</AccountId>
        <AccountType/>
      </UserInfo>
      <UserInfo>
        <DisplayName>Mader, Katie</DisplayName>
        <AccountId>9</AccountId>
        <AccountType/>
      </UserInfo>
      <UserInfo>
        <DisplayName>Case, Izzy</DisplayName>
        <AccountId>119</AccountId>
        <AccountType/>
      </UserInfo>
      <UserInfo>
        <DisplayName>Chandrasekaran, Sundar</DisplayName>
        <AccountId>18</AccountId>
        <AccountType/>
      </UserInfo>
    </SharedWithUsers>
    <TaxCatchAll xmlns="5a8afa00-c53d-4f15-ab89-5a7351c8f0f2" xsi:nil="true"/>
    <DateandTime xmlns="52771f6f-f0f9-4460-bb37-832eb9f82ef2" xsi:nil="true"/>
    <Test xmlns="52771f6f-f0f9-4460-bb37-832eb9f82ef2" xsi:nil="true"/>
    <lcf76f155ced4ddcb4097134ff3c332f xmlns="52771f6f-f0f9-4460-bb37-832eb9f82ef2">
      <Terms xmlns="http://schemas.microsoft.com/office/infopath/2007/PartnerControls"/>
    </lcf76f155ced4ddcb4097134ff3c332f>
    <Comment xmlns="52771f6f-f0f9-4460-bb37-832eb9f82ef2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2B363BB4C3B44186C20E26BCB7EAA7" ma:contentTypeVersion="18" ma:contentTypeDescription="Create a new document." ma:contentTypeScope="" ma:versionID="15d5421a6f1c1fd2889eb27000d64708">
  <xsd:schema xmlns:xsd="http://www.w3.org/2001/XMLSchema" xmlns:xs="http://www.w3.org/2001/XMLSchema" xmlns:p="http://schemas.microsoft.com/office/2006/metadata/properties" xmlns:ns2="52771f6f-f0f9-4460-bb37-832eb9f82ef2" xmlns:ns3="5a8afa00-c53d-4f15-ab89-5a7351c8f0f2" targetNamespace="http://schemas.microsoft.com/office/2006/metadata/properties" ma:root="true" ma:fieldsID="b22ad9a44098568d3d6519c95bec7c29" ns2:_="" ns3:_="">
    <xsd:import namespace="52771f6f-f0f9-4460-bb37-832eb9f82ef2"/>
    <xsd:import namespace="5a8afa00-c53d-4f15-ab89-5a7351c8f0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Test" minOccurs="0"/>
                <xsd:element ref="ns2:DateandTime" minOccurs="0"/>
                <xsd:element ref="ns2:Comme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771f6f-f0f9-4460-bb37-832eb9f82e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a4df692a-cb56-4b31-ba11-798a39458bd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Test" ma:index="23" nillable="true" ma:displayName="Test " ma:format="Dropdown" ma:internalName="Test">
      <xsd:simpleType>
        <xsd:restriction base="dms:Text">
          <xsd:maxLength value="255"/>
        </xsd:restriction>
      </xsd:simpleType>
    </xsd:element>
    <xsd:element name="DateandTime" ma:index="24" nillable="true" ma:displayName="Date and Time " ma:format="DateTime" ma:internalName="DateandTime">
      <xsd:simpleType>
        <xsd:restriction base="dms:DateTime"/>
      </xsd:simpleType>
    </xsd:element>
    <xsd:element name="Comment" ma:index="25" nillable="true" ma:displayName="Comment" ma:format="Dropdown" ma:internalName="Comment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8afa00-c53d-4f15-ab89-5a7351c8f0f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d20b6165-4c12-46c5-9c24-3cd3d87b8dab}" ma:internalName="TaxCatchAll" ma:showField="CatchAllData" ma:web="5a8afa00-c53d-4f15-ab89-5a7351c8f0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4B51C9-7D74-4C3A-8C31-8667AED0C170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52771f6f-f0f9-4460-bb37-832eb9f82ef2"/>
    <ds:schemaRef ds:uri="http://purl.org/dc/elements/1.1/"/>
    <ds:schemaRef ds:uri="http://schemas.openxmlformats.org/package/2006/metadata/core-properties"/>
    <ds:schemaRef ds:uri="5a8afa00-c53d-4f15-ab89-5a7351c8f0f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8EA7DF0-F544-4E49-941B-D44712B38F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88D506-12EC-4819-B5B5-5F81BECF6F36}">
  <ds:schemaRefs>
    <ds:schemaRef ds:uri="52771f6f-f0f9-4460-bb37-832eb9f82ef2"/>
    <ds:schemaRef ds:uri="5a8afa00-c53d-4f15-ab89-5a7351c8f0f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aton</Template>
  <TotalTime>680</TotalTime>
  <Words>2924</Words>
  <Application>Microsoft Office PowerPoint</Application>
  <PresentationFormat>On-screen Show (16:9)</PresentationFormat>
  <Paragraphs>812</Paragraphs>
  <Slides>26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46" baseType="lpstr">
      <vt:lpstr>Arial</vt:lpstr>
      <vt:lpstr>Ariel</vt:lpstr>
      <vt:lpstr>Calibri</vt:lpstr>
      <vt:lpstr>Univers LT Std 55</vt:lpstr>
      <vt:lpstr>Verdana</vt:lpstr>
      <vt:lpstr>Wingdings</vt:lpstr>
      <vt:lpstr>Eaton Confidential</vt:lpstr>
      <vt:lpstr>No Logo</vt:lpstr>
      <vt:lpstr>No Copyright</vt:lpstr>
      <vt:lpstr>No Page</vt:lpstr>
      <vt:lpstr>No Logo No Copyright</vt:lpstr>
      <vt:lpstr>No Logo, No Page</vt:lpstr>
      <vt:lpstr>No Logo, No Copyright, No Page</vt:lpstr>
      <vt:lpstr>Eaton Confidential</vt:lpstr>
      <vt:lpstr>Office Theme</vt:lpstr>
      <vt:lpstr>1_Eaton Confidential</vt:lpstr>
      <vt:lpstr>2_Eaton Confidential</vt:lpstr>
      <vt:lpstr>3_Eaton Confidential</vt:lpstr>
      <vt:lpstr>think-cell Slide</vt:lpstr>
      <vt:lpstr>Worksheet</vt:lpstr>
      <vt:lpstr>Project EAST &amp; EVOLUTION S4Transformation Overview</vt:lpstr>
      <vt:lpstr>PowerPoint Presentation</vt:lpstr>
      <vt:lpstr>EVOLUTION – ESA Program Overview</vt:lpstr>
      <vt:lpstr>PowerPoint Presentation</vt:lpstr>
      <vt:lpstr>The program roadmap establishes an ERP Order Hub as the foundation, builds ERP Plant Templates for scale, and deploys in phases to mitigate risk.</vt:lpstr>
      <vt:lpstr>A series of workshops were completed to design the 40 level 2 business processes that define the ERP Order Hub model </vt:lpstr>
      <vt:lpstr>Segmentation Heatmap</vt:lpstr>
      <vt:lpstr>EAST - Aerospace Program Overview</vt:lpstr>
      <vt:lpstr>Aerospace has an eye towards continued future growth but is hampered by its foundational technology</vt:lpstr>
      <vt:lpstr>The proposed solution establishes an MVP Global Template as the foundation, then adds operational capabilities and localization requirements as we rollout</vt:lpstr>
      <vt:lpstr>Imagine Phase – At a Glance</vt:lpstr>
      <vt:lpstr>Capability Segmentation Heatmap</vt:lpstr>
      <vt:lpstr>Capability Segmentation Heatmap</vt:lpstr>
      <vt:lpstr>Landscape Overview</vt:lpstr>
      <vt:lpstr>1.2.2 To-Be Landscape</vt:lpstr>
      <vt:lpstr>High-Level Client Strategy</vt:lpstr>
      <vt:lpstr>Cloud Hosted Environments</vt:lpstr>
      <vt:lpstr>Composable Approach</vt:lpstr>
      <vt:lpstr>The target composable architecture enables faster time to value through best-in-class edge solutions and simplified integration with a clean, standard ERP core.</vt:lpstr>
      <vt:lpstr>ESA Order Hub Overview</vt:lpstr>
      <vt:lpstr>PowerPoint Presentation</vt:lpstr>
      <vt:lpstr>MVP Integrations</vt:lpstr>
      <vt:lpstr>ESA MVP Integrations and Addons</vt:lpstr>
      <vt:lpstr>Aerospace MVP Integrations and Addons</vt:lpstr>
      <vt:lpstr>New Capabilities</vt:lpstr>
      <vt:lpstr>Planned Implementation of Key New Capabilities</vt:lpstr>
    </vt:vector>
  </TitlesOfParts>
  <Company>Eat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(Arial font, 32 points)</dc:title>
  <dc:creator>Evans, Ron D</dc:creator>
  <cp:lastModifiedBy>Vedula, Hari</cp:lastModifiedBy>
  <cp:revision>10</cp:revision>
  <dcterms:created xsi:type="dcterms:W3CDTF">2021-03-02T14:49:03Z</dcterms:created>
  <dcterms:modified xsi:type="dcterms:W3CDTF">2023-03-19T15:04:58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ContentTypeId">
    <vt:lpwstr>0x010100DC2B363BB4C3B44186C20E26BCB7EAA7</vt:lpwstr>
  </property>
  <property fmtid="{D5CDD505-2E9C-101B-9397-08002B2CF9AE}" pid="3" name="AuthorIds_UIVersion_512">
    <vt:lpwstr>79</vt:lpwstr>
  </property>
  <property fmtid="{D5CDD505-2E9C-101B-9397-08002B2CF9AE}" pid="4" name="AuthorIds_UIVersion_3072">
    <vt:lpwstr>29</vt:lpwstr>
  </property>
  <property fmtid="{D5CDD505-2E9C-101B-9397-08002B2CF9AE}" pid="5" name="MediaServiceImageTags">
    <vt:lpwstr/>
  </property>
  <property fmtid="{D5CDD505-2E9C-101B-9397-08002B2CF9AE}" pid="6" name="MSIP_Label_3599d043-8015-4ee7-b582-c3cf2054ae2e_ActionId">
    <vt:lpwstr>b686cd8e-4652-442e-a295-e27a72cf00b4</vt:lpwstr>
  </property>
  <property fmtid="{D5CDD505-2E9C-101B-9397-08002B2CF9AE}" pid="7" name="MSIP_Label_3599d043-8015-4ee7-b582-c3cf2054ae2e_Name">
    <vt:lpwstr>Restricted (IP4)</vt:lpwstr>
  </property>
  <property fmtid="{D5CDD505-2E9C-101B-9397-08002B2CF9AE}" pid="8" name="MSIP_Label_3599d043-8015-4ee7-b582-c3cf2054ae2e_SetDate">
    <vt:lpwstr>2023-09-30T02:02:38Z</vt:lpwstr>
  </property>
  <property fmtid="{D5CDD505-2E9C-101B-9397-08002B2CF9AE}" pid="9" name="MSIP_Label_3599d043-8015-4ee7-b582-c3cf2054ae2e_SiteId">
    <vt:lpwstr>d6525c95-b906-431a-b926-e9b51ba43cc4</vt:lpwstr>
  </property>
  <property fmtid="{D5CDD505-2E9C-101B-9397-08002B2CF9AE}" pid="10" name="MSIP_Label_3599d043-8015-4ee7-b582-c3cf2054ae2e_Enabled">
    <vt:lpwstr>True</vt:lpwstr>
  </property>
  <property fmtid="{D5CDD505-2E9C-101B-9397-08002B2CF9AE}" pid="11" name="MSIP_Label_3599d043-8015-4ee7-b582-c3cf2054ae2e_Removed">
    <vt:lpwstr>False</vt:lpwstr>
  </property>
  <property fmtid="{D5CDD505-2E9C-101B-9397-08002B2CF9AE}" pid="12" name="MSIP_Label_3599d043-8015-4ee7-b582-c3cf2054ae2e_Extended_MSFT_Method">
    <vt:lpwstr>Standard</vt:lpwstr>
  </property>
  <property fmtid="{D5CDD505-2E9C-101B-9397-08002B2CF9AE}" pid="13" name="Sensitivity">
    <vt:lpwstr>Restricted (IP4)</vt:lpwstr>
  </property>
</Properties>
</file>